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10"/>
  </p:notesMasterIdLst>
  <p:sldIdLst>
    <p:sldId id="258" r:id="rId2"/>
    <p:sldId id="259" r:id="rId3"/>
    <p:sldId id="262" r:id="rId4"/>
    <p:sldId id="263" r:id="rId5"/>
    <p:sldId id="264" r:id="rId6"/>
    <p:sldId id="265" r:id="rId7"/>
    <p:sldId id="266" r:id="rId8"/>
    <p:sldId id="267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95959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733AD1-BED1-4C71-B004-3296BFE0AA74}" v="92" dt="2024-11-02T10:51:17.6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9" autoAdjust="0"/>
    <p:restoredTop sz="92354" autoAdjust="0"/>
  </p:normalViewPr>
  <p:slideViewPr>
    <p:cSldViewPr snapToGrid="0">
      <p:cViewPr varScale="1">
        <p:scale>
          <a:sx n="102" d="100"/>
          <a:sy n="102" d="100"/>
        </p:scale>
        <p:origin x="660" y="-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K" userId="d066db4a5de46abf" providerId="LiveId" clId="{B1733AD1-BED1-4C71-B004-3296BFE0AA74}"/>
    <pc:docChg chg="undo custSel addSld modSld">
      <pc:chgData name="Jan K" userId="d066db4a5de46abf" providerId="LiveId" clId="{B1733AD1-BED1-4C71-B004-3296BFE0AA74}" dt="2024-11-02T10:52:06.926" v="452" actId="14100"/>
      <pc:docMkLst>
        <pc:docMk/>
      </pc:docMkLst>
      <pc:sldChg chg="modSp mod">
        <pc:chgData name="Jan K" userId="d066db4a5de46abf" providerId="LiveId" clId="{B1733AD1-BED1-4C71-B004-3296BFE0AA74}" dt="2024-11-01T22:25:40.516" v="131" actId="1076"/>
        <pc:sldMkLst>
          <pc:docMk/>
          <pc:sldMk cId="3437032930" sldId="265"/>
        </pc:sldMkLst>
        <pc:spChg chg="mod">
          <ac:chgData name="Jan K" userId="d066db4a5de46abf" providerId="LiveId" clId="{B1733AD1-BED1-4C71-B004-3296BFE0AA74}" dt="2024-11-01T22:25:40.516" v="131" actId="1076"/>
          <ac:spMkLst>
            <pc:docMk/>
            <pc:sldMk cId="3437032930" sldId="265"/>
            <ac:spMk id="14" creationId="{327694EA-98CB-C5F1-F8AC-1BA737957912}"/>
          </ac:spMkLst>
        </pc:spChg>
      </pc:sldChg>
      <pc:sldChg chg="addSp delSp modSp mod">
        <pc:chgData name="Jan K" userId="d066db4a5de46abf" providerId="LiveId" clId="{B1733AD1-BED1-4C71-B004-3296BFE0AA74}" dt="2024-11-02T10:52:06.926" v="452" actId="14100"/>
        <pc:sldMkLst>
          <pc:docMk/>
          <pc:sldMk cId="2745595283" sldId="266"/>
        </pc:sldMkLst>
        <pc:spChg chg="add mod">
          <ac:chgData name="Jan K" userId="d066db4a5de46abf" providerId="LiveId" clId="{B1733AD1-BED1-4C71-B004-3296BFE0AA74}" dt="2024-11-01T22:32:23.469" v="193" actId="1076"/>
          <ac:spMkLst>
            <pc:docMk/>
            <pc:sldMk cId="2745595283" sldId="266"/>
            <ac:spMk id="7" creationId="{E72E89F1-DE3E-DF08-C531-06E33C3A207B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8" creationId="{B75D0647-E9F8-6A05-52E5-6F4C181F9F27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9" creationId="{9436D166-A256-9792-0029-DB2C8D8039BF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0" creationId="{A91E7A4A-0C47-3F95-D04F-8306EC8D95E3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1" creationId="{7E4657F3-59ED-710B-6C65-26C6B4123D96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2" creationId="{365DED4A-26DB-4CA2-8A00-0B44A0975413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4" creationId="{BD3152CC-AC8E-8578-E0A3-EBBD23C4EC1C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5" creationId="{A75DCE3E-B512-0911-D64E-DC963A4F7C8B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6" creationId="{AD7AA7B9-2305-4DB6-1AD0-362FB942274A}"/>
          </ac:spMkLst>
        </pc:spChg>
        <pc:spChg chg="mod">
          <ac:chgData name="Jan K" userId="d066db4a5de46abf" providerId="LiveId" clId="{B1733AD1-BED1-4C71-B004-3296BFE0AA74}" dt="2024-11-01T22:44:27.700" v="267" actId="17032"/>
          <ac:spMkLst>
            <pc:docMk/>
            <pc:sldMk cId="2745595283" sldId="266"/>
            <ac:spMk id="19" creationId="{3A4E6725-765B-96E7-4425-6C7F25A3904E}"/>
          </ac:spMkLst>
        </pc:spChg>
        <pc:spChg chg="mod">
          <ac:chgData name="Jan K" userId="d066db4a5de46abf" providerId="LiveId" clId="{B1733AD1-BED1-4C71-B004-3296BFE0AA74}" dt="2024-11-01T22:44:25.570" v="266" actId="17032"/>
          <ac:spMkLst>
            <pc:docMk/>
            <pc:sldMk cId="2745595283" sldId="266"/>
            <ac:spMk id="20" creationId="{1B6190EE-E9D9-F693-BBFD-4E2C85BAEB7F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1" creationId="{DA72060B-362D-6F44-5ED9-1F043BA8AC99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2" creationId="{94CC3569-7952-7F68-EA3E-5A844134158E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4" creationId="{43B2CF6D-B9C3-AF21-65B8-7EDEE2045733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5" creationId="{2AFA8B74-FF28-414D-E05D-57AFA96CF8EB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6" creationId="{81BF3C83-FF82-878B-211F-88DCFFF48B14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7" creationId="{FF14F6D2-3211-2FF3-805B-02216D1FF3F8}"/>
          </ac:spMkLst>
        </pc:spChg>
        <pc:spChg chg="add mod">
          <ac:chgData name="Jan K" userId="d066db4a5de46abf" providerId="LiveId" clId="{B1733AD1-BED1-4C71-B004-3296BFE0AA74}" dt="2024-11-01T22:44:20.771" v="265" actId="14100"/>
          <ac:spMkLst>
            <pc:docMk/>
            <pc:sldMk cId="2745595283" sldId="266"/>
            <ac:spMk id="28" creationId="{C41DDC22-07A0-A55C-BE12-E26E3AADCA32}"/>
          </ac:spMkLst>
        </pc:spChg>
        <pc:spChg chg="add mod">
          <ac:chgData name="Jan K" userId="d066db4a5de46abf" providerId="LiveId" clId="{B1733AD1-BED1-4C71-B004-3296BFE0AA74}" dt="2024-11-01T22:50:41.046" v="326" actId="207"/>
          <ac:spMkLst>
            <pc:docMk/>
            <pc:sldMk cId="2745595283" sldId="266"/>
            <ac:spMk id="29" creationId="{4B8192C7-671A-12AB-97BE-1AFA51162F32}"/>
          </ac:spMkLst>
        </pc:spChg>
        <pc:spChg chg="del mod">
          <ac:chgData name="Jan K" userId="d066db4a5de46abf" providerId="LiveId" clId="{B1733AD1-BED1-4C71-B004-3296BFE0AA74}" dt="2024-11-01T22:27:25.660" v="140" actId="478"/>
          <ac:spMkLst>
            <pc:docMk/>
            <pc:sldMk cId="2745595283" sldId="266"/>
            <ac:spMk id="31" creationId="{1B6D537E-40E4-3C5E-5655-3A60119EF6A0}"/>
          </ac:spMkLst>
        </pc:spChg>
        <pc:spChg chg="mod">
          <ac:chgData name="Jan K" userId="d066db4a5de46abf" providerId="LiveId" clId="{B1733AD1-BED1-4C71-B004-3296BFE0AA74}" dt="2024-11-01T22:27:18.115" v="136" actId="207"/>
          <ac:spMkLst>
            <pc:docMk/>
            <pc:sldMk cId="2745595283" sldId="266"/>
            <ac:spMk id="32" creationId="{019256F8-97A7-20B9-D492-2CDDA5D69A04}"/>
          </ac:spMkLst>
        </pc:spChg>
        <pc:spChg chg="mod">
          <ac:chgData name="Jan K" userId="d066db4a5de46abf" providerId="LiveId" clId="{B1733AD1-BED1-4C71-B004-3296BFE0AA74}" dt="2024-11-01T22:27:32.511" v="141" actId="207"/>
          <ac:spMkLst>
            <pc:docMk/>
            <pc:sldMk cId="2745595283" sldId="266"/>
            <ac:spMk id="33" creationId="{743E542C-9184-D64C-5B3D-DA4BF39AB90A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4" creationId="{A3B2DFB6-C3CD-BDE7-70C3-62CE3D59F581}"/>
          </ac:spMkLst>
        </pc:spChg>
        <pc:spChg chg="del mod">
          <ac:chgData name="Jan K" userId="d066db4a5de46abf" providerId="LiveId" clId="{B1733AD1-BED1-4C71-B004-3296BFE0AA74}" dt="2024-11-01T22:27:20.513" v="137" actId="478"/>
          <ac:spMkLst>
            <pc:docMk/>
            <pc:sldMk cId="2745595283" sldId="266"/>
            <ac:spMk id="36" creationId="{3F00AEE9-2A47-324C-8B06-B8D40048BBCC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7" creationId="{AFAC5F3D-2D0B-47B9-D832-D6B1B5E1E8D9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8" creationId="{AD3D8E47-F322-57C3-2543-E804C4E73BB7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9" creationId="{AD36A598-7C77-9AD7-92DE-13E52B5C691D}"/>
          </ac:spMkLst>
        </pc:spChg>
        <pc:spChg chg="add mod">
          <ac:chgData name="Jan K" userId="d066db4a5de46abf" providerId="LiveId" clId="{B1733AD1-BED1-4C71-B004-3296BFE0AA74}" dt="2024-11-02T10:49:59.031" v="414" actId="1076"/>
          <ac:spMkLst>
            <pc:docMk/>
            <pc:sldMk cId="2745595283" sldId="266"/>
            <ac:spMk id="41" creationId="{0D22C06A-7224-CD9C-9EE3-4F59CE27D34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1" creationId="{4415C96F-6F03-35DB-55ED-873F3BE58275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2" creationId="{4F506482-6940-F94B-305C-1076D8D4FD6B}"/>
          </ac:spMkLst>
        </pc:spChg>
        <pc:spChg chg="add mod">
          <ac:chgData name="Jan K" userId="d066db4a5de46abf" providerId="LiveId" clId="{B1733AD1-BED1-4C71-B004-3296BFE0AA74}" dt="2024-11-02T10:51:06.175" v="447" actId="1076"/>
          <ac:spMkLst>
            <pc:docMk/>
            <pc:sldMk cId="2745595283" sldId="266"/>
            <ac:spMk id="42" creationId="{8D6BFA15-8565-B90E-E8A7-96408EC2DF2D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3" creationId="{1FA4C156-F9F0-7706-4988-810000F430D8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5" creationId="{192508FF-F418-F7DB-5B14-4E0686836471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6" creationId="{6ACCB09B-F92B-2C0F-9A1E-D145B33638D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7" creationId="{C9B78A28-6841-B33F-FFC7-8B7EF3B1D69D}"/>
          </ac:spMkLst>
        </pc:spChg>
        <pc:spChg chg="mod">
          <ac:chgData name="Jan K" userId="d066db4a5de46abf" providerId="LiveId" clId="{B1733AD1-BED1-4C71-B004-3296BFE0AA74}" dt="2024-11-01T22:28:09.284" v="151" actId="207"/>
          <ac:spMkLst>
            <pc:docMk/>
            <pc:sldMk cId="2745595283" sldId="266"/>
            <ac:spMk id="49" creationId="{20E65A85-A9E4-1629-D8A4-235BFC1E987C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0" creationId="{7C5D3898-5AC5-9D50-DE41-F7EBA5BB6EE0}"/>
          </ac:spMkLst>
        </pc:spChg>
        <pc:spChg chg="mod">
          <ac:chgData name="Jan K" userId="d066db4a5de46abf" providerId="LiveId" clId="{B1733AD1-BED1-4C71-B004-3296BFE0AA74}" dt="2024-11-01T22:28:04.439" v="149" actId="207"/>
          <ac:spMkLst>
            <pc:docMk/>
            <pc:sldMk cId="2745595283" sldId="266"/>
            <ac:spMk id="51" creationId="{7E67AEB6-DAD0-46EB-016C-953B8A4C4442}"/>
          </ac:spMkLst>
        </pc:spChg>
        <pc:spChg chg="mod">
          <ac:chgData name="Jan K" userId="d066db4a5de46abf" providerId="LiveId" clId="{B1733AD1-BED1-4C71-B004-3296BFE0AA74}" dt="2024-11-01T22:28:13.157" v="152" actId="207"/>
          <ac:spMkLst>
            <pc:docMk/>
            <pc:sldMk cId="2745595283" sldId="266"/>
            <ac:spMk id="52" creationId="{32BA937B-1859-3EF0-C301-7E57132857FF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4" creationId="{FD942769-47C7-19B4-3C8C-1B211460B8FB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5" creationId="{CEFC531A-A8A2-DB67-5637-CBACD444207D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6" creationId="{59B63754-D51B-9A09-F2A7-9FEF0F608E70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7" creationId="{95035C39-CED8-83C8-A3DA-DDF95F08C8CE}"/>
          </ac:spMkLst>
        </pc:spChg>
        <pc:spChg chg="add mod">
          <ac:chgData name="Jan K" userId="d066db4a5de46abf" providerId="LiveId" clId="{B1733AD1-BED1-4C71-B004-3296BFE0AA74}" dt="2024-11-01T22:49:17.856" v="301" actId="1076"/>
          <ac:spMkLst>
            <pc:docMk/>
            <pc:sldMk cId="2745595283" sldId="266"/>
            <ac:spMk id="59" creationId="{B7F0CB44-35CE-366A-D4CB-5E5575129DD6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8" creationId="{CE97F6DB-2568-671E-220A-3194ED9E12AC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9" creationId="{A0412251-57CF-AB45-320B-4561D3549322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0" creationId="{54064BC7-45BC-E569-8C2D-20B1C21417AD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1" creationId="{0BE0DF51-3C5B-F531-E249-E82C2887A37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3" creationId="{3272FDCE-A722-05C0-4DF7-0F4E0834DE0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4" creationId="{BE02EFDC-9968-8FD4-5E05-EF9940A72257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5" creationId="{73577D34-4178-99E9-19E2-462EFF30642F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6" creationId="{84614F9C-D1D7-299B-AF0B-66D1E715D5D5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78" creationId="{B8F9347A-0F34-638C-982B-88A8C8C4D9B7}"/>
          </ac:spMkLst>
        </pc:spChg>
        <pc:spChg chg="del mod">
          <ac:chgData name="Jan K" userId="d066db4a5de46abf" providerId="LiveId" clId="{B1733AD1-BED1-4C71-B004-3296BFE0AA74}" dt="2024-11-01T22:48:52.672" v="297" actId="478"/>
          <ac:spMkLst>
            <pc:docMk/>
            <pc:sldMk cId="2745595283" sldId="266"/>
            <ac:spMk id="2079" creationId="{591DC60B-35D8-0B1C-EE63-85F36C85D95C}"/>
          </ac:spMkLst>
        </pc:spChg>
        <pc:spChg chg="del mod">
          <ac:chgData name="Jan K" userId="d066db4a5de46abf" providerId="LiveId" clId="{B1733AD1-BED1-4C71-B004-3296BFE0AA74}" dt="2024-11-01T22:48:42.047" v="293" actId="478"/>
          <ac:spMkLst>
            <pc:docMk/>
            <pc:sldMk cId="2745595283" sldId="266"/>
            <ac:spMk id="2080" creationId="{C8C8D864-F327-D730-D53A-F5C4A8912268}"/>
          </ac:spMkLst>
        </pc:spChg>
        <pc:spChg chg="mod">
          <ac:chgData name="Jan K" userId="d066db4a5de46abf" providerId="LiveId" clId="{B1733AD1-BED1-4C71-B004-3296BFE0AA74}" dt="2024-11-01T22:48:15.759" v="292" actId="207"/>
          <ac:spMkLst>
            <pc:docMk/>
            <pc:sldMk cId="2745595283" sldId="266"/>
            <ac:spMk id="2081" creationId="{D5C2618F-A279-A777-FF35-ACB8596E995E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83" creationId="{E1238188-43A5-A98D-039C-777279018ECF}"/>
          </ac:spMkLst>
        </pc:spChg>
        <pc:spChg chg="del mod">
          <ac:chgData name="Jan K" userId="d066db4a5de46abf" providerId="LiveId" clId="{B1733AD1-BED1-4C71-B004-3296BFE0AA74}" dt="2024-11-01T22:48:46.385" v="295" actId="478"/>
          <ac:spMkLst>
            <pc:docMk/>
            <pc:sldMk cId="2745595283" sldId="266"/>
            <ac:spMk id="2084" creationId="{0E7CCFA9-19E3-1ED5-0264-B078A7733F5E}"/>
          </ac:spMkLst>
        </pc:spChg>
        <pc:spChg chg="del mod">
          <ac:chgData name="Jan K" userId="d066db4a5de46abf" providerId="LiveId" clId="{B1733AD1-BED1-4C71-B004-3296BFE0AA74}" dt="2024-11-01T22:48:44.454" v="294" actId="478"/>
          <ac:spMkLst>
            <pc:docMk/>
            <pc:sldMk cId="2745595283" sldId="266"/>
            <ac:spMk id="2085" creationId="{28EA1906-E128-BF53-0981-3730B1E50A11}"/>
          </ac:spMkLst>
        </pc:spChg>
        <pc:spChg chg="mod">
          <ac:chgData name="Jan K" userId="d066db4a5de46abf" providerId="LiveId" clId="{B1733AD1-BED1-4C71-B004-3296BFE0AA74}" dt="2024-11-01T22:44:37.655" v="268"/>
          <ac:spMkLst>
            <pc:docMk/>
            <pc:sldMk cId="2745595283" sldId="266"/>
            <ac:spMk id="2086" creationId="{0C957B10-D175-686E-4E9E-9C24D733B1F2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4" creationId="{55C15780-C646-E753-8728-8A910A584D2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5" creationId="{587521D3-B567-17A8-AE58-89A84733E9D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6" creationId="{A0D9FE08-638E-A84C-DEC2-1F4F7D3A8AA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7" creationId="{A7208FF8-25CE-FF95-7FD2-60F8B555F344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9" creationId="{9E243B49-B5B8-3D53-9391-7E25DFFF5FCD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0" creationId="{6800161B-3C29-D2CC-C652-996A12AF1A87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1" creationId="{FD4FAF56-12B6-2C0A-3B3A-D3B2EC48CA9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2" creationId="{B8D9E695-2912-13E8-7889-3406CD5E2BA2}"/>
          </ac:spMkLst>
        </pc:spChg>
        <pc:spChg chg="add 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3" creationId="{95633BF5-1D02-D96E-757E-450D16056520}"/>
          </ac:spMkLst>
        </pc:spChg>
        <pc:spChg chg="mod">
          <ac:chgData name="Jan K" userId="d066db4a5de46abf" providerId="LiveId" clId="{B1733AD1-BED1-4C71-B004-3296BFE0AA74}" dt="2024-11-01T23:00:29.956" v="384" actId="207"/>
          <ac:spMkLst>
            <pc:docMk/>
            <pc:sldMk cId="2745595283" sldId="266"/>
            <ac:spMk id="2139" creationId="{2AD9E10B-DA0C-EECD-E13B-C39AF5912B3C}"/>
          </ac:spMkLst>
        </pc:spChg>
        <pc:spChg chg="mod">
          <ac:chgData name="Jan K" userId="d066db4a5de46abf" providerId="LiveId" clId="{B1733AD1-BED1-4C71-B004-3296BFE0AA74}" dt="2024-11-01T23:00:25.897" v="383" actId="207"/>
          <ac:spMkLst>
            <pc:docMk/>
            <pc:sldMk cId="2745595283" sldId="266"/>
            <ac:spMk id="2140" creationId="{65CB9C60-8AE0-851B-702B-5FE829EEEFC4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1" creationId="{F6601568-687E-8C3F-670F-02CED37F3EDE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3" creationId="{8B71310B-3377-CC20-64D0-E1E5BF7B19FC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4" creationId="{7879D1F5-09B0-992C-D234-0EC54A6D34F6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5" creationId="{B31813D3-CD97-7928-5678-14A8AF6820F8}"/>
          </ac:spMkLst>
        </pc:spChg>
        <pc:grpChg chg="add mod">
          <ac:chgData name="Jan K" userId="d066db4a5de46abf" providerId="LiveId" clId="{B1733AD1-BED1-4C71-B004-3296BFE0AA74}" dt="2024-11-01T22:22:58.517" v="97" actId="164"/>
          <ac:grpSpMkLst>
            <pc:docMk/>
            <pc:sldMk cId="2745595283" sldId="266"/>
            <ac:grpSpMk id="13" creationId="{6D5CF2C5-A8A7-6044-330A-4D952ECE69C5}"/>
          </ac:grpSpMkLst>
        </pc:grpChg>
        <pc:grpChg chg="add mod">
          <ac:chgData name="Jan K" userId="d066db4a5de46abf" providerId="LiveId" clId="{B1733AD1-BED1-4C71-B004-3296BFE0AA74}" dt="2024-11-01T22:28:53.638" v="159" actId="1076"/>
          <ac:grpSpMkLst>
            <pc:docMk/>
            <pc:sldMk cId="2745595283" sldId="266"/>
            <ac:grpSpMk id="17" creationId="{28E1B3BC-B84A-487C-2416-D2E1290FF478}"/>
          </ac:grpSpMkLst>
        </pc:grpChg>
        <pc:grpChg chg="add mod">
          <ac:chgData name="Jan K" userId="d066db4a5de46abf" providerId="LiveId" clId="{B1733AD1-BED1-4C71-B004-3296BFE0AA74}" dt="2024-11-01T22:29:09.062" v="160" actId="1076"/>
          <ac:grpSpMkLst>
            <pc:docMk/>
            <pc:sldMk cId="2745595283" sldId="266"/>
            <ac:grpSpMk id="18" creationId="{4D3739A8-6735-04AB-D5BE-38E29C9260CE}"/>
          </ac:grpSpMkLst>
        </pc:grpChg>
        <pc:grpChg chg="mod">
          <ac:chgData name="Jan K" userId="d066db4a5de46abf" providerId="LiveId" clId="{B1733AD1-BED1-4C71-B004-3296BFE0AA74}" dt="2024-11-01T22:23:08.264" v="98"/>
          <ac:grpSpMkLst>
            <pc:docMk/>
            <pc:sldMk cId="2745595283" sldId="266"/>
            <ac:grpSpMk id="23" creationId="{399F1B54-0AAE-C650-09EF-D196DD25DE2A}"/>
          </ac:grpSpMkLst>
        </pc:grpChg>
        <pc:grpChg chg="add del mod">
          <ac:chgData name="Jan K" userId="d066db4a5de46abf" providerId="LiveId" clId="{B1733AD1-BED1-4C71-B004-3296BFE0AA74}" dt="2024-11-01T23:05:42.626" v="393" actId="1076"/>
          <ac:grpSpMkLst>
            <pc:docMk/>
            <pc:sldMk cId="2745595283" sldId="266"/>
            <ac:grpSpMk id="30" creationId="{6371556F-5419-FF68-A148-F1684B6D8705}"/>
          </ac:grpSpMkLst>
        </pc:grpChg>
        <pc:grpChg chg="mod">
          <ac:chgData name="Jan K" userId="d066db4a5de46abf" providerId="LiveId" clId="{B1733AD1-BED1-4C71-B004-3296BFE0AA74}" dt="2024-11-01T22:27:04.809" v="134"/>
          <ac:grpSpMkLst>
            <pc:docMk/>
            <pc:sldMk cId="2745595283" sldId="266"/>
            <ac:grpSpMk id="35" creationId="{A7AE47DF-F4DA-1800-7386-DBC762AE23DA}"/>
          </ac:grpSpMkLst>
        </pc:grpChg>
        <pc:grpChg chg="add del mod">
          <ac:chgData name="Jan K" userId="d066db4a5de46abf" providerId="LiveId" clId="{B1733AD1-BED1-4C71-B004-3296BFE0AA74}" dt="2024-11-01T22:27:46.316" v="145" actId="478"/>
          <ac:grpSpMkLst>
            <pc:docMk/>
            <pc:sldMk cId="2745595283" sldId="266"/>
            <ac:grpSpMk id="40" creationId="{CF19DE78-E9A2-DDF3-7E34-30C44D6A0442}"/>
          </ac:grpSpMkLst>
        </pc:grpChg>
        <pc:grpChg chg="mod">
          <ac:chgData name="Jan K" userId="d066db4a5de46abf" providerId="LiveId" clId="{B1733AD1-BED1-4C71-B004-3296BFE0AA74}" dt="2024-11-01T22:27:44.535" v="143"/>
          <ac:grpSpMkLst>
            <pc:docMk/>
            <pc:sldMk cId="2745595283" sldId="266"/>
            <ac:grpSpMk id="44" creationId="{966DD93B-22D5-3699-64A5-8D3C3161199A}"/>
          </ac:grpSpMkLst>
        </pc:grpChg>
        <pc:grpChg chg="add mod">
          <ac:chgData name="Jan K" userId="d066db4a5de46abf" providerId="LiveId" clId="{B1733AD1-BED1-4C71-B004-3296BFE0AA74}" dt="2024-11-01T22:49:17.856" v="301" actId="1076"/>
          <ac:grpSpMkLst>
            <pc:docMk/>
            <pc:sldMk cId="2745595283" sldId="266"/>
            <ac:grpSpMk id="48" creationId="{94EFD9F7-BF2C-479C-AE62-17DC73E93C75}"/>
          </ac:grpSpMkLst>
        </pc:grpChg>
        <pc:grpChg chg="mod">
          <ac:chgData name="Jan K" userId="d066db4a5de46abf" providerId="LiveId" clId="{B1733AD1-BED1-4C71-B004-3296BFE0AA74}" dt="2024-11-01T22:27:50.215" v="146"/>
          <ac:grpSpMkLst>
            <pc:docMk/>
            <pc:sldMk cId="2745595283" sldId="266"/>
            <ac:grpSpMk id="53" creationId="{368A34C8-6AEA-2048-F9A3-DE7E9EFB7C1E}"/>
          </ac:grpSpMkLst>
        </pc:grpChg>
        <pc:grpChg chg="add mod">
          <ac:chgData name="Jan K" userId="d066db4a5de46abf" providerId="LiveId" clId="{B1733AD1-BED1-4C71-B004-3296BFE0AA74}" dt="2024-11-01T22:46:33.496" v="276" actId="1076"/>
          <ac:grpSpMkLst>
            <pc:docMk/>
            <pc:sldMk cId="2745595283" sldId="266"/>
            <ac:grpSpMk id="2067" creationId="{D684337F-7D8D-4C78-EA91-DB0F695473FD}"/>
          </ac:grpSpMkLst>
        </pc:grpChg>
        <pc:grpChg chg="mod">
          <ac:chgData name="Jan K" userId="d066db4a5de46abf" providerId="LiveId" clId="{B1733AD1-BED1-4C71-B004-3296BFE0AA74}" dt="2024-11-01T22:41:57.856" v="263"/>
          <ac:grpSpMkLst>
            <pc:docMk/>
            <pc:sldMk cId="2745595283" sldId="266"/>
            <ac:grpSpMk id="2072" creationId="{D878DC87-C9AF-03FF-553E-91861B159672}"/>
          </ac:grpSpMkLst>
        </pc:grpChg>
        <pc:grpChg chg="add mod ord">
          <ac:chgData name="Jan K" userId="d066db4a5de46abf" providerId="LiveId" clId="{B1733AD1-BED1-4C71-B004-3296BFE0AA74}" dt="2024-11-01T22:50:54.640" v="328" actId="166"/>
          <ac:grpSpMkLst>
            <pc:docMk/>
            <pc:sldMk cId="2745595283" sldId="266"/>
            <ac:grpSpMk id="2077" creationId="{E58F6E4C-3247-0908-EC95-591274968F6B}"/>
          </ac:grpSpMkLst>
        </pc:grpChg>
        <pc:grpChg chg="mod">
          <ac:chgData name="Jan K" userId="d066db4a5de46abf" providerId="LiveId" clId="{B1733AD1-BED1-4C71-B004-3296BFE0AA74}" dt="2024-11-01T22:44:37.655" v="268"/>
          <ac:grpSpMkLst>
            <pc:docMk/>
            <pc:sldMk cId="2745595283" sldId="266"/>
            <ac:grpSpMk id="2082" creationId="{065EFA8F-9EBF-59BA-0019-501C71F12164}"/>
          </ac:grpSpMkLst>
        </pc:grpChg>
        <pc:grpChg chg="add 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3" creationId="{C8B0D7CE-FB95-5416-F77A-574A2D8AB288}"/>
          </ac:grpSpMkLst>
        </pc:grpChg>
        <pc:grpChg chg="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8" creationId="{3339692A-79C7-FA70-10D4-6E689FB73FD3}"/>
          </ac:grpSpMkLst>
        </pc:grpChg>
        <pc:grpChg chg="add mod">
          <ac:chgData name="Jan K" userId="d066db4a5de46abf" providerId="LiveId" clId="{B1733AD1-BED1-4C71-B004-3296BFE0AA74}" dt="2024-11-01T23:05:50.450" v="394" actId="1076"/>
          <ac:grpSpMkLst>
            <pc:docMk/>
            <pc:sldMk cId="2745595283" sldId="266"/>
            <ac:grpSpMk id="2138" creationId="{A713250C-EB1B-EB43-71CB-85151AC58E41}"/>
          </ac:grpSpMkLst>
        </pc:grpChg>
        <pc:grpChg chg="mod">
          <ac:chgData name="Jan K" userId="d066db4a5de46abf" providerId="LiveId" clId="{B1733AD1-BED1-4C71-B004-3296BFE0AA74}" dt="2024-11-01T23:00:14.927" v="381"/>
          <ac:grpSpMkLst>
            <pc:docMk/>
            <pc:sldMk cId="2745595283" sldId="266"/>
            <ac:grpSpMk id="2142" creationId="{3EE5C3A6-BEC7-C4CC-00B0-5FF83873F80F}"/>
          </ac:grpSpMkLst>
        </pc:grpChg>
        <pc:picChg chg="mod">
          <ac:chgData name="Jan K" userId="d066db4a5de46abf" providerId="LiveId" clId="{B1733AD1-BED1-4C71-B004-3296BFE0AA74}" dt="2024-11-01T22:50:17.214" v="321" actId="14100"/>
          <ac:picMkLst>
            <pc:docMk/>
            <pc:sldMk cId="2745595283" sldId="266"/>
            <ac:picMk id="4" creationId="{E7563F9F-F97A-05A2-DBCC-D168B7B3D623}"/>
          </ac:picMkLst>
        </pc:picChg>
        <pc:picChg chg="mod">
          <ac:chgData name="Jan K" userId="d066db4a5de46abf" providerId="LiveId" clId="{B1733AD1-BED1-4C71-B004-3296BFE0AA74}" dt="2024-11-01T22:15:09.216" v="5" actId="1076"/>
          <ac:picMkLst>
            <pc:docMk/>
            <pc:sldMk cId="2745595283" sldId="266"/>
            <ac:picMk id="5" creationId="{F7A4AF17-865B-D4DF-3D3E-D5BAD7B799D8}"/>
          </ac:picMkLst>
        </pc:picChg>
        <pc:picChg chg="add mod">
          <ac:chgData name="Jan K" userId="d066db4a5de46abf" providerId="LiveId" clId="{B1733AD1-BED1-4C71-B004-3296BFE0AA74}" dt="2024-11-02T10:49:38.867" v="408" actId="1076"/>
          <ac:picMkLst>
            <pc:docMk/>
            <pc:sldMk cId="2745595283" sldId="266"/>
            <ac:picMk id="58" creationId="{7367BCA0-D8D4-1CA0-B396-21407806CA45}"/>
          </ac:picMkLst>
        </pc:picChg>
        <pc:picChg chg="add mod">
          <ac:chgData name="Jan K" userId="d066db4a5de46abf" providerId="LiveId" clId="{B1733AD1-BED1-4C71-B004-3296BFE0AA74}" dt="2024-11-02T10:51:17.683" v="449" actId="1076"/>
          <ac:picMkLst>
            <pc:docMk/>
            <pc:sldMk cId="2745595283" sldId="266"/>
            <ac:picMk id="2050" creationId="{38B91090-F730-6429-AC77-6AEE19671DD8}"/>
          </ac:picMkLst>
        </pc:picChg>
        <pc:cxnChg chg="add mod">
          <ac:chgData name="Jan K" userId="d066db4a5de46abf" providerId="LiveId" clId="{B1733AD1-BED1-4C71-B004-3296BFE0AA74}" dt="2024-11-02T10:49:42.487" v="409" actId="14100"/>
          <ac:cxnSpMkLst>
            <pc:docMk/>
            <pc:sldMk cId="2745595283" sldId="266"/>
            <ac:cxnSpMk id="2" creationId="{05834252-5EC0-8F8C-57F0-74CEFBCE5C75}"/>
          </ac:cxnSpMkLst>
        </pc:cxnChg>
        <pc:cxnChg chg="add mod">
          <ac:chgData name="Jan K" userId="d066db4a5de46abf" providerId="LiveId" clId="{B1733AD1-BED1-4C71-B004-3296BFE0AA74}" dt="2024-11-01T22:16:04.240" v="12" actId="1582"/>
          <ac:cxnSpMkLst>
            <pc:docMk/>
            <pc:sldMk cId="2745595283" sldId="266"/>
            <ac:cxnSpMk id="3" creationId="{7BAC3796-7EA7-A720-334C-417FCEE30446}"/>
          </ac:cxnSpMkLst>
        </pc:cxnChg>
        <pc:cxnChg chg="add mod">
          <ac:chgData name="Jan K" userId="d066db4a5de46abf" providerId="LiveId" clId="{B1733AD1-BED1-4C71-B004-3296BFE0AA74}" dt="2024-11-01T22:40:05.867" v="261" actId="1076"/>
          <ac:cxnSpMkLst>
            <pc:docMk/>
            <pc:sldMk cId="2745595283" sldId="266"/>
            <ac:cxnSpMk id="6" creationId="{A973B31F-62DA-FBF9-5798-5357B0103687}"/>
          </ac:cxnSpMkLst>
        </pc:cxnChg>
        <pc:cxnChg chg="add mod">
          <ac:chgData name="Jan K" userId="d066db4a5de46abf" providerId="LiveId" clId="{B1733AD1-BED1-4C71-B004-3296BFE0AA74}" dt="2024-11-02T10:52:06.926" v="452" actId="14100"/>
          <ac:cxnSpMkLst>
            <pc:docMk/>
            <pc:sldMk cId="2745595283" sldId="266"/>
            <ac:cxnSpMk id="43" creationId="{594B7745-774B-FECF-821A-D6F2BFC145B2}"/>
          </ac:cxnSpMkLst>
        </pc:cxnChg>
        <pc:cxnChg chg="add mod">
          <ac:chgData name="Jan K" userId="d066db4a5de46abf" providerId="LiveId" clId="{B1733AD1-BED1-4C71-B004-3296BFE0AA74}" dt="2024-11-02T10:50:52.133" v="445" actId="14100"/>
          <ac:cxnSpMkLst>
            <pc:docMk/>
            <pc:sldMk cId="2745595283" sldId="266"/>
            <ac:cxnSpMk id="47" creationId="{954BB559-959D-A3B6-8666-9A8E8A5C9B6F}"/>
          </ac:cxnSpMkLst>
        </pc:cxnChg>
        <pc:cxnChg chg="add mod">
          <ac:chgData name="Jan K" userId="d066db4a5de46abf" providerId="LiveId" clId="{B1733AD1-BED1-4C71-B004-3296BFE0AA74}" dt="2024-11-01T22:39:51.778" v="260" actId="14100"/>
          <ac:cxnSpMkLst>
            <pc:docMk/>
            <pc:sldMk cId="2745595283" sldId="266"/>
            <ac:cxnSpMk id="2048" creationId="{912275B6-3E85-59C4-6095-E01AEF8FB4A0}"/>
          </ac:cxnSpMkLst>
        </pc:cxnChg>
        <pc:cxnChg chg="add mod">
          <ac:chgData name="Jan K" userId="d066db4a5de46abf" providerId="LiveId" clId="{B1733AD1-BED1-4C71-B004-3296BFE0AA74}" dt="2024-11-01T22:40:16.411" v="262" actId="208"/>
          <ac:cxnSpMkLst>
            <pc:docMk/>
            <pc:sldMk cId="2745595283" sldId="266"/>
            <ac:cxnSpMk id="2051" creationId="{7CE7E800-5203-ACE0-60EB-A220F1B5BBBA}"/>
          </ac:cxnSpMkLst>
        </pc:cxnChg>
        <pc:cxnChg chg="add mod">
          <ac:chgData name="Jan K" userId="d066db4a5de46abf" providerId="LiveId" clId="{B1733AD1-BED1-4C71-B004-3296BFE0AA74}" dt="2024-11-02T10:51:26.038" v="450" actId="1076"/>
          <ac:cxnSpMkLst>
            <pc:docMk/>
            <pc:sldMk cId="2745595283" sldId="266"/>
            <ac:cxnSpMk id="2059" creationId="{D9241F75-2E76-DAF3-0F9D-7A754CC2A1C3}"/>
          </ac:cxnSpMkLst>
        </pc:cxnChg>
        <pc:cxnChg chg="add mod">
          <ac:chgData name="Jan K" userId="d066db4a5de46abf" providerId="LiveId" clId="{B1733AD1-BED1-4C71-B004-3296BFE0AA74}" dt="2024-11-02T10:51:30.767" v="451" actId="14100"/>
          <ac:cxnSpMkLst>
            <pc:docMk/>
            <pc:sldMk cId="2745595283" sldId="266"/>
            <ac:cxnSpMk id="2061" creationId="{C93EB9E4-AD2A-954D-E2FA-982D6AD556D3}"/>
          </ac:cxnSpMkLst>
        </pc:cxnChg>
        <pc:cxnChg chg="add mod">
          <ac:chgData name="Jan K" userId="d066db4a5de46abf" providerId="LiveId" clId="{B1733AD1-BED1-4C71-B004-3296BFE0AA74}" dt="2024-11-01T22:49:49.374" v="312" actId="1038"/>
          <ac:cxnSpMkLst>
            <pc:docMk/>
            <pc:sldMk cId="2745595283" sldId="266"/>
            <ac:cxnSpMk id="2087" creationId="{CCC5E001-C494-4746-89D6-C431169BAD56}"/>
          </ac:cxnSpMkLst>
        </pc:cxnChg>
        <pc:cxnChg chg="add mod">
          <ac:chgData name="Jan K" userId="d066db4a5de46abf" providerId="LiveId" clId="{B1733AD1-BED1-4C71-B004-3296BFE0AA74}" dt="2024-11-01T22:50:59.583" v="329" actId="1076"/>
          <ac:cxnSpMkLst>
            <pc:docMk/>
            <pc:sldMk cId="2745595283" sldId="266"/>
            <ac:cxnSpMk id="2092" creationId="{9BB1AFB2-EAD4-3E56-776C-AF8FC63B78A4}"/>
          </ac:cxnSpMkLst>
        </pc:cxnChg>
        <pc:cxnChg chg="add mod">
          <ac:chgData name="Jan K" userId="d066db4a5de46abf" providerId="LiveId" clId="{B1733AD1-BED1-4C71-B004-3296BFE0AA74}" dt="2024-11-01T22:50:11.414" v="320" actId="208"/>
          <ac:cxnSpMkLst>
            <pc:docMk/>
            <pc:sldMk cId="2745595283" sldId="266"/>
            <ac:cxnSpMk id="2094" creationId="{56807906-60D6-3C19-512F-540D1F2B16B5}"/>
          </ac:cxnSpMkLst>
        </pc:cxnChg>
        <pc:cxnChg chg="add mod">
          <ac:chgData name="Jan K" userId="d066db4a5de46abf" providerId="LiveId" clId="{B1733AD1-BED1-4C71-B004-3296BFE0AA74}" dt="2024-11-01T22:52:16.326" v="342" actId="1035"/>
          <ac:cxnSpMkLst>
            <pc:docMk/>
            <pc:sldMk cId="2745595283" sldId="266"/>
            <ac:cxnSpMk id="2096" creationId="{AEE5C106-EF17-5439-93CC-B235CE76C64C}"/>
          </ac:cxnSpMkLst>
        </pc:cxnChg>
        <pc:cxnChg chg="add mod">
          <ac:chgData name="Jan K" userId="d066db4a5de46abf" providerId="LiveId" clId="{B1733AD1-BED1-4C71-B004-3296BFE0AA74}" dt="2024-11-01T23:06:08.640" v="395" actId="1038"/>
          <ac:cxnSpMkLst>
            <pc:docMk/>
            <pc:sldMk cId="2745595283" sldId="266"/>
            <ac:cxnSpMk id="2098" creationId="{951CC4E8-28AC-6564-70AA-2A6FFE572CCD}"/>
          </ac:cxnSpMkLst>
        </pc:cxnChg>
        <pc:cxnChg chg="add del mod">
          <ac:chgData name="Jan K" userId="d066db4a5de46abf" providerId="LiveId" clId="{B1733AD1-BED1-4C71-B004-3296BFE0AA74}" dt="2024-11-01T23:05:28.396" v="391" actId="478"/>
          <ac:cxnSpMkLst>
            <pc:docMk/>
            <pc:sldMk cId="2745595283" sldId="266"/>
            <ac:cxnSpMk id="2101" creationId="{A7A9CBB0-6619-A0A9-EECD-C643EBA8BFFC}"/>
          </ac:cxnSpMkLst>
        </pc:cxnChg>
        <pc:cxnChg chg="add mod">
          <ac:chgData name="Jan K" userId="d066db4a5de46abf" providerId="LiveId" clId="{B1733AD1-BED1-4C71-B004-3296BFE0AA74}" dt="2024-11-01T23:05:32.668" v="392" actId="14100"/>
          <ac:cxnSpMkLst>
            <pc:docMk/>
            <pc:sldMk cId="2745595283" sldId="266"/>
            <ac:cxnSpMk id="2104" creationId="{859F8D17-A187-165D-5B1C-469E195C8D6D}"/>
          </ac:cxnSpMkLst>
        </pc:cxnChg>
        <pc:cxnChg chg="add mod">
          <ac:chgData name="Jan K" userId="d066db4a5de46abf" providerId="LiveId" clId="{B1733AD1-BED1-4C71-B004-3296BFE0AA74}" dt="2024-11-01T23:00:56.082" v="387" actId="208"/>
          <ac:cxnSpMkLst>
            <pc:docMk/>
            <pc:sldMk cId="2745595283" sldId="266"/>
            <ac:cxnSpMk id="2106" creationId="{72608580-DF29-74D5-AEA1-D0D964E7D91A}"/>
          </ac:cxnSpMkLst>
        </pc:cxnChg>
        <pc:cxnChg chg="add mod">
          <ac:chgData name="Jan K" userId="d066db4a5de46abf" providerId="LiveId" clId="{B1733AD1-BED1-4C71-B004-3296BFE0AA74}" dt="2024-11-01T23:06:32.523" v="397" actId="14100"/>
          <ac:cxnSpMkLst>
            <pc:docMk/>
            <pc:sldMk cId="2745595283" sldId="266"/>
            <ac:cxnSpMk id="2109" creationId="{E9DFAEA0-7BD0-4968-5230-59C137E03ED9}"/>
          </ac:cxnSpMkLst>
        </pc:cxnChg>
        <pc:cxnChg chg="add mod">
          <ac:chgData name="Jan K" userId="d066db4a5de46abf" providerId="LiveId" clId="{B1733AD1-BED1-4C71-B004-3296BFE0AA74}" dt="2024-11-01T23:00:36.502" v="386" actId="14100"/>
          <ac:cxnSpMkLst>
            <pc:docMk/>
            <pc:sldMk cId="2745595283" sldId="266"/>
            <ac:cxnSpMk id="2124" creationId="{EE8D1037-4BBA-FFD9-A61C-220E7776332B}"/>
          </ac:cxnSpMkLst>
        </pc:cxnChg>
        <pc:cxnChg chg="add mod">
          <ac:chgData name="Jan K" userId="d066db4a5de46abf" providerId="LiveId" clId="{B1733AD1-BED1-4C71-B004-3296BFE0AA74}" dt="2024-11-01T22:59:37.069" v="373" actId="14100"/>
          <ac:cxnSpMkLst>
            <pc:docMk/>
            <pc:sldMk cId="2745595283" sldId="266"/>
            <ac:cxnSpMk id="2130" creationId="{46F51143-0D3C-3104-FF33-272F9FD37C35}"/>
          </ac:cxnSpMkLst>
        </pc:cxnChg>
        <pc:cxnChg chg="add mod">
          <ac:chgData name="Jan K" userId="d066db4a5de46abf" providerId="LiveId" clId="{B1733AD1-BED1-4C71-B004-3296BFE0AA74}" dt="2024-11-01T23:00:34.109" v="385" actId="14100"/>
          <ac:cxnSpMkLst>
            <pc:docMk/>
            <pc:sldMk cId="2745595283" sldId="266"/>
            <ac:cxnSpMk id="2132" creationId="{B7FFDCBA-1BE4-3E25-C06A-B234B86A57C5}"/>
          </ac:cxnSpMkLst>
        </pc:cxnChg>
      </pc:sldChg>
      <pc:sldChg chg="addSp delSp modSp new">
        <pc:chgData name="Jan K" userId="d066db4a5de46abf" providerId="LiveId" clId="{B1733AD1-BED1-4C71-B004-3296BFE0AA74}" dt="2024-11-01T22:35:02.322" v="200" actId="1076"/>
        <pc:sldMkLst>
          <pc:docMk/>
          <pc:sldMk cId="1436483383" sldId="267"/>
        </pc:sldMkLst>
        <pc:picChg chg="add mod">
          <ac:chgData name="Jan K" userId="d066db4a5de46abf" providerId="LiveId" clId="{B1733AD1-BED1-4C71-B004-3296BFE0AA74}" dt="2024-11-01T22:35:02.322" v="200" actId="1076"/>
          <ac:picMkLst>
            <pc:docMk/>
            <pc:sldMk cId="1436483383" sldId="267"/>
            <ac:picMk id="2" creationId="{88D73887-34D2-7F16-D513-AB9D4CF2A574}"/>
          </ac:picMkLst>
        </pc:picChg>
        <pc:picChg chg="add">
          <ac:chgData name="Jan K" userId="d066db4a5de46abf" providerId="LiveId" clId="{B1733AD1-BED1-4C71-B004-3296BFE0AA74}" dt="2024-11-01T22:14:28.863" v="1"/>
          <ac:picMkLst>
            <pc:docMk/>
            <pc:sldMk cId="1436483383" sldId="267"/>
            <ac:picMk id="1026" creationId="{1FAA62C8-67D6-2C03-4F45-5C825BF0276B}"/>
          </ac:picMkLst>
        </pc:picChg>
        <pc:picChg chg="add del mod">
          <ac:chgData name="Jan K" userId="d066db4a5de46abf" providerId="LiveId" clId="{B1733AD1-BED1-4C71-B004-3296BFE0AA74}" dt="2024-11-01T22:29:56.653" v="165" actId="21"/>
          <ac:picMkLst>
            <pc:docMk/>
            <pc:sldMk cId="1436483383" sldId="267"/>
            <ac:picMk id="1028" creationId="{88D73887-34D2-7F16-D513-AB9D4CF2A57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0FB70-4477-4AB3-9888-A31104B7E1BE}" type="datetimeFigureOut">
              <a:rPr lang="en-US" smtClean="0"/>
              <a:t>11/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975E4-9BC1-420F-A23A-FC44F25249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644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501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725" y="0"/>
            <a:ext cx="12205725" cy="6865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21775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434" y="3679965"/>
            <a:ext cx="11523133" cy="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3162" y="4821155"/>
            <a:ext cx="11524404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12336694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164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195593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02/2024</a:t>
            </a:fld>
            <a:endParaRPr lang="en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68347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37190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02/2024</a:t>
            </a:fld>
            <a:endParaRPr lang="en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cxnSp>
        <p:nvCxnSpPr>
          <p:cNvPr id="12" name="Gerade Verbindung 11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126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62E8354-C884-4D66-9347-90E31E116CE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1294" indent="-241294" algn="ctr">
              <a:spcBef>
                <a:spcPts val="267"/>
              </a:spcBef>
              <a:buFont typeface="Calibri" panose="020F0502020204030204" pitchFamily="34" charset="0"/>
              <a:buChar char="▪"/>
            </a:pPr>
            <a:endParaRPr lang="en-DE" sz="1867" dirty="0" err="1"/>
          </a:p>
        </p:txBody>
      </p:sp>
    </p:spTree>
    <p:extLst>
      <p:ext uri="{BB962C8B-B14F-4D97-AF65-F5344CB8AC3E}">
        <p14:creationId xmlns:p14="http://schemas.microsoft.com/office/powerpoint/2010/main" val="3490837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77"/>
            <a:ext cx="12194395" cy="685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79312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460500"/>
            <a:ext cx="12192000" cy="53975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5359" y="4557214"/>
            <a:ext cx="11521279" cy="979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4434" y="5718016"/>
            <a:ext cx="11523132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183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3008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329682" y="656694"/>
            <a:ext cx="1393164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29681" y="1400008"/>
            <a:ext cx="11526959" cy="4800600"/>
          </a:xfrm>
          <a:prstGeom prst="rect">
            <a:avLst/>
          </a:prstGeom>
        </p:spPr>
        <p:txBody>
          <a:bodyPr>
            <a:noAutofit/>
          </a:bodyPr>
          <a:lstStyle>
            <a:lvl1pPr marL="479988" indent="-479988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480472" indent="23917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061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68796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5362" y="2048845"/>
            <a:ext cx="11521277" cy="816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8403" y="2949021"/>
            <a:ext cx="11521277" cy="67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33" b="0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6393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93449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02/2024</a:t>
            </a:fld>
            <a:endParaRPr lang="en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6000" y="93182"/>
            <a:ext cx="11520000" cy="4832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36000" y="1396800"/>
            <a:ext cx="11520000" cy="4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9961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351794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02/2024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6240573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el 6">
            <a:extLst>
              <a:ext uri="{FF2B5EF4-FFF2-40B4-BE49-F238E27FC236}">
                <a16:creationId xmlns:a16="http://schemas.microsoft.com/office/drawing/2014/main" id="{E0C2E0DC-CE21-449B-B90C-F53EBB197F7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36000" y="93182"/>
            <a:ext cx="11520000" cy="483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289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69327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02/2024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6239934" y="1449388"/>
            <a:ext cx="5617633" cy="47630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9871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66194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827" y="625475"/>
            <a:ext cx="12191173" cy="62599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736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68288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1" y="2996953"/>
            <a:ext cx="11521280" cy="21242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867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401" y="-43200"/>
            <a:ext cx="1612633" cy="836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53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0533804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361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267"/>
        </a:spcBef>
        <a:spcAft>
          <a:spcPts val="0"/>
        </a:spcAft>
        <a:buFont typeface="Arial" panose="020B0604020202020204" pitchFamily="34" charset="0"/>
        <a:buNone/>
        <a:defRPr sz="1867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241294" indent="-241294" algn="l" defTabSz="1219170" rtl="0" eaLnBrk="1" latinLnBrk="0" hangingPunct="1">
        <a:spcBef>
          <a:spcPts val="267"/>
        </a:spcBef>
        <a:spcAft>
          <a:spcPts val="0"/>
        </a:spcAft>
        <a:buFont typeface="Wingdings" charset="2"/>
        <a:buChar char="§"/>
        <a:defRPr sz="1867" kern="1200">
          <a:solidFill>
            <a:schemeClr val="bg2"/>
          </a:solidFill>
          <a:latin typeface="+mj-lt"/>
          <a:ea typeface="+mn-ea"/>
          <a:cs typeface="+mn-cs"/>
        </a:defRPr>
      </a:lvl2pPr>
      <a:lvl3pPr marL="484705" indent="-243411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3pPr>
      <a:lvl4pPr marL="721766" indent="-239178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4pPr>
      <a:lvl5pPr marL="952476" indent="-241294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pn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3.jpe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2" name="Picture 161">
            <a:extLst>
              <a:ext uri="{FF2B5EF4-FFF2-40B4-BE49-F238E27FC236}">
                <a16:creationId xmlns:a16="http://schemas.microsoft.com/office/drawing/2014/main" id="{FA0BAECB-7633-42F5-8C65-56CF838963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91719" y="4763961"/>
            <a:ext cx="1495299" cy="1072818"/>
          </a:xfrm>
          <a:prstGeom prst="rect">
            <a:avLst/>
          </a:prstGeom>
        </p:spPr>
      </p:pic>
      <p:pic>
        <p:nvPicPr>
          <p:cNvPr id="13314" name="Picture 2" descr="1 x Lego System Electric Motor DEFEKT 9V schwarz Eisenbahn Zug Lok für  Cargo Railway Krokodil Lokomotive Metroliner Train 10132 4551 590 70358 |  Steinpalast">
            <a:extLst>
              <a:ext uri="{FF2B5EF4-FFF2-40B4-BE49-F238E27FC236}">
                <a16:creationId xmlns:a16="http://schemas.microsoft.com/office/drawing/2014/main" id="{9442CF5A-AEB8-4B81-A44E-89F4E9340F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6306" y="5345531"/>
            <a:ext cx="1671928" cy="167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E2C678A-7606-4F9B-8F75-1277916386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4434" y="1649070"/>
            <a:ext cx="1218083" cy="1585090"/>
          </a:xfrm>
          <a:prstGeom prst="rect">
            <a:avLst/>
          </a:prstGeom>
        </p:spPr>
      </p:pic>
      <p:pic>
        <p:nvPicPr>
          <p:cNvPr id="5" name="Picture 6" descr="Samsung 25R 18650 2500mAh 20A Battery">
            <a:extLst>
              <a:ext uri="{FF2B5EF4-FFF2-40B4-BE49-F238E27FC236}">
                <a16:creationId xmlns:a16="http://schemas.microsoft.com/office/drawing/2014/main" id="{732501CB-C38A-4120-AF58-315BE83C58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0" t="36700" r="3800" b="36700"/>
          <a:stretch/>
        </p:blipFill>
        <p:spPr bwMode="auto">
          <a:xfrm rot="5400000" flipH="1">
            <a:off x="564154" y="4490287"/>
            <a:ext cx="2232755" cy="64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FA6464B-50CF-4885-BD3A-83129482EE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1439232" y="2554390"/>
            <a:ext cx="777571" cy="12860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0F4B35-5679-4947-BC2E-C7A4E87139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15846" y="3012853"/>
            <a:ext cx="1106552" cy="5449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6B06C3-CBC5-4EAA-A964-9ED7B04A63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6426558" y="5219696"/>
            <a:ext cx="829192" cy="918178"/>
          </a:xfrm>
          <a:prstGeom prst="rect">
            <a:avLst/>
          </a:prstGeom>
        </p:spPr>
      </p:pic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7B1A4E92-AD71-4A4C-B986-E48C69690DFD}"/>
              </a:ext>
            </a:extLst>
          </p:cNvPr>
          <p:cNvCxnSpPr>
            <a:cxnSpLocks/>
            <a:stCxn id="11" idx="3"/>
            <a:endCxn id="5" idx="1"/>
          </p:cNvCxnSpPr>
          <p:nvPr/>
        </p:nvCxnSpPr>
        <p:spPr>
          <a:xfrm flipH="1">
            <a:off x="1680532" y="3017784"/>
            <a:ext cx="692577" cy="2910000"/>
          </a:xfrm>
          <a:prstGeom prst="bentConnector4">
            <a:avLst>
              <a:gd name="adj1" fmla="val -64248"/>
              <a:gd name="adj2" fmla="val 58851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393E444-9389-4C8F-BB4E-40C9C98F33A7}"/>
              </a:ext>
            </a:extLst>
          </p:cNvPr>
          <p:cNvSpPr/>
          <p:nvPr/>
        </p:nvSpPr>
        <p:spPr>
          <a:xfrm>
            <a:off x="2265097" y="296377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900534-2DFE-42B2-BEB0-56DBB71D1D91}"/>
              </a:ext>
            </a:extLst>
          </p:cNvPr>
          <p:cNvSpPr/>
          <p:nvPr/>
        </p:nvSpPr>
        <p:spPr>
          <a:xfrm>
            <a:off x="2265097" y="282469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97B61F-B1A8-4312-BDBC-A5321E010C75}"/>
              </a:ext>
            </a:extLst>
          </p:cNvPr>
          <p:cNvSpPr/>
          <p:nvPr/>
        </p:nvSpPr>
        <p:spPr>
          <a:xfrm>
            <a:off x="2265097" y="344983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B6A58A-4699-42E9-97F0-17C7B2223679}"/>
              </a:ext>
            </a:extLst>
          </p:cNvPr>
          <p:cNvSpPr/>
          <p:nvPr/>
        </p:nvSpPr>
        <p:spPr>
          <a:xfrm>
            <a:off x="2265097" y="327458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E2ADA53-0E06-4666-AD44-831E29DDAE71}"/>
              </a:ext>
            </a:extLst>
          </p:cNvPr>
          <p:cNvCxnSpPr>
            <a:cxnSpLocks/>
            <a:stCxn id="14" idx="3"/>
            <a:endCxn id="5" idx="3"/>
          </p:cNvCxnSpPr>
          <p:nvPr/>
        </p:nvCxnSpPr>
        <p:spPr>
          <a:xfrm flipH="1">
            <a:off x="1680532" y="3328588"/>
            <a:ext cx="692577" cy="366441"/>
          </a:xfrm>
          <a:prstGeom prst="bentConnector4">
            <a:avLst>
              <a:gd name="adj1" fmla="val -33007"/>
              <a:gd name="adj2" fmla="val 318374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D529A50-48F2-4185-8718-B1952E0EB663}"/>
              </a:ext>
            </a:extLst>
          </p:cNvPr>
          <p:cNvCxnSpPr>
            <a:cxnSpLocks/>
            <a:stCxn id="13" idx="3"/>
            <a:endCxn id="17" idx="1"/>
          </p:cNvCxnSpPr>
          <p:nvPr/>
        </p:nvCxnSpPr>
        <p:spPr>
          <a:xfrm flipV="1">
            <a:off x="2373109" y="3285348"/>
            <a:ext cx="1309142" cy="218489"/>
          </a:xfrm>
          <a:prstGeom prst="bentConnector3">
            <a:avLst>
              <a:gd name="adj1" fmla="val 66007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C8F0A43-ED33-4791-8DDA-78C841B6DC8E}"/>
              </a:ext>
            </a:extLst>
          </p:cNvPr>
          <p:cNvSpPr/>
          <p:nvPr/>
        </p:nvSpPr>
        <p:spPr>
          <a:xfrm>
            <a:off x="3682251" y="323134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FD77E1-112F-43F8-9EC9-3806199CDF1C}"/>
              </a:ext>
            </a:extLst>
          </p:cNvPr>
          <p:cNvSpPr/>
          <p:nvPr/>
        </p:nvSpPr>
        <p:spPr>
          <a:xfrm>
            <a:off x="4567076" y="3430024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BB64A1-C439-4D2E-BD53-44C13123A91D}"/>
              </a:ext>
            </a:extLst>
          </p:cNvPr>
          <p:cNvSpPr/>
          <p:nvPr/>
        </p:nvSpPr>
        <p:spPr>
          <a:xfrm>
            <a:off x="4564087" y="302470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C8E86A-EF69-41E5-B41D-635E128C123C}"/>
              </a:ext>
            </a:extLst>
          </p:cNvPr>
          <p:cNvSpPr/>
          <p:nvPr/>
        </p:nvSpPr>
        <p:spPr>
          <a:xfrm>
            <a:off x="3672878" y="343378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5EFB4DCF-D855-4CE2-BB72-76BD4582DD90}"/>
              </a:ext>
            </a:extLst>
          </p:cNvPr>
          <p:cNvCxnSpPr>
            <a:cxnSpLocks/>
            <a:stCxn id="12" idx="3"/>
            <a:endCxn id="23" idx="2"/>
          </p:cNvCxnSpPr>
          <p:nvPr/>
        </p:nvCxnSpPr>
        <p:spPr>
          <a:xfrm flipV="1">
            <a:off x="2373109" y="2534823"/>
            <a:ext cx="880285" cy="343875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58AE742A-6C91-4487-A8F7-166FA6A578B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78153" y="1365964"/>
            <a:ext cx="550483" cy="118167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AF727428-C37A-4B36-8F43-705FD310B8DA}"/>
              </a:ext>
            </a:extLst>
          </p:cNvPr>
          <p:cNvSpPr/>
          <p:nvPr/>
        </p:nvSpPr>
        <p:spPr>
          <a:xfrm>
            <a:off x="3199388" y="242681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BD34BC-AF31-40E3-99D1-8A69233E3ACC}"/>
              </a:ext>
            </a:extLst>
          </p:cNvPr>
          <p:cNvSpPr/>
          <p:nvPr/>
        </p:nvSpPr>
        <p:spPr>
          <a:xfrm>
            <a:off x="3366877" y="242681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9FC949AE-0E1E-458D-97E7-B29E83F795C2}"/>
              </a:ext>
            </a:extLst>
          </p:cNvPr>
          <p:cNvCxnSpPr>
            <a:cxnSpLocks/>
            <a:stCxn id="20" idx="1"/>
            <a:endCxn id="24" idx="2"/>
          </p:cNvCxnSpPr>
          <p:nvPr/>
        </p:nvCxnSpPr>
        <p:spPr>
          <a:xfrm rot="10800000">
            <a:off x="3420884" y="2534824"/>
            <a:ext cx="251995" cy="952965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8CDD7FC6-4D19-4476-A6C6-3C46D081045A}"/>
              </a:ext>
            </a:extLst>
          </p:cNvPr>
          <p:cNvSpPr/>
          <p:nvPr/>
        </p:nvSpPr>
        <p:spPr>
          <a:xfrm>
            <a:off x="7624505" y="277181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937916-0081-454C-89E7-5D25D112D791}"/>
              </a:ext>
            </a:extLst>
          </p:cNvPr>
          <p:cNvSpPr/>
          <p:nvPr/>
        </p:nvSpPr>
        <p:spPr>
          <a:xfrm>
            <a:off x="6411317" y="555730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64D32F2-8AE0-465E-AF4B-E100931B9938}"/>
              </a:ext>
            </a:extLst>
          </p:cNvPr>
          <p:cNvSpPr/>
          <p:nvPr/>
        </p:nvSpPr>
        <p:spPr>
          <a:xfrm>
            <a:off x="7621516" y="264011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7851C4F-D1CF-4487-9497-DA263746B44A}"/>
              </a:ext>
            </a:extLst>
          </p:cNvPr>
          <p:cNvCxnSpPr>
            <a:cxnSpLocks/>
            <a:stCxn id="19" idx="3"/>
            <a:endCxn id="26" idx="3"/>
          </p:cNvCxnSpPr>
          <p:nvPr/>
        </p:nvCxnSpPr>
        <p:spPr>
          <a:xfrm flipV="1">
            <a:off x="4672099" y="2825821"/>
            <a:ext cx="3060418" cy="252893"/>
          </a:xfrm>
          <a:prstGeom prst="bentConnector3">
            <a:avLst>
              <a:gd name="adj1" fmla="val 10747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6850EF1A-0E13-482D-AAD9-B28701FDB422}"/>
              </a:ext>
            </a:extLst>
          </p:cNvPr>
          <p:cNvCxnSpPr>
            <a:cxnSpLocks/>
            <a:stCxn id="18" idx="3"/>
            <a:endCxn id="28" idx="3"/>
          </p:cNvCxnSpPr>
          <p:nvPr/>
        </p:nvCxnSpPr>
        <p:spPr>
          <a:xfrm flipV="1">
            <a:off x="4675088" y="2694122"/>
            <a:ext cx="3054440" cy="789908"/>
          </a:xfrm>
          <a:prstGeom prst="bentConnector3">
            <a:avLst>
              <a:gd name="adj1" fmla="val 111642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696A1772-8491-4ED9-9B3F-BA6EC14495BC}"/>
              </a:ext>
            </a:extLst>
          </p:cNvPr>
          <p:cNvCxnSpPr>
            <a:cxnSpLocks/>
            <a:stCxn id="27" idx="1"/>
            <a:endCxn id="119" idx="4"/>
          </p:cNvCxnSpPr>
          <p:nvPr/>
        </p:nvCxnSpPr>
        <p:spPr>
          <a:xfrm rot="10800000">
            <a:off x="3423285" y="3528979"/>
            <a:ext cx="2988033" cy="2082330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A3413FAE-E25C-4659-948B-19119754330D}"/>
              </a:ext>
            </a:extLst>
          </p:cNvPr>
          <p:cNvCxnSpPr>
            <a:cxnSpLocks/>
            <a:stCxn id="121" idx="4"/>
            <a:endCxn id="33" idx="1"/>
          </p:cNvCxnSpPr>
          <p:nvPr/>
        </p:nvCxnSpPr>
        <p:spPr>
          <a:xfrm rot="16200000" flipH="1">
            <a:off x="3710272" y="3055454"/>
            <a:ext cx="2213461" cy="3161845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FC73D70-9FAF-4815-ADE0-5F8B29D849FC}"/>
              </a:ext>
            </a:extLst>
          </p:cNvPr>
          <p:cNvSpPr/>
          <p:nvPr/>
        </p:nvSpPr>
        <p:spPr>
          <a:xfrm>
            <a:off x="6397925" y="568910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C1D2CC-FE7E-46CB-B095-85D336E7ABCF}"/>
              </a:ext>
            </a:extLst>
          </p:cNvPr>
          <p:cNvSpPr/>
          <p:nvPr/>
        </p:nvSpPr>
        <p:spPr>
          <a:xfrm>
            <a:off x="1621971" y="366426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376B2F6-37F8-4B69-97CF-B090A1DE4725}"/>
              </a:ext>
            </a:extLst>
          </p:cNvPr>
          <p:cNvSpPr/>
          <p:nvPr/>
        </p:nvSpPr>
        <p:spPr>
          <a:xfrm>
            <a:off x="1620166" y="581609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41FE99-EE70-43F8-ABD2-597021801A95}"/>
              </a:ext>
            </a:extLst>
          </p:cNvPr>
          <p:cNvSpPr/>
          <p:nvPr/>
        </p:nvSpPr>
        <p:spPr>
          <a:xfrm>
            <a:off x="6411317" y="581804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1D3AA9-BE4B-4607-9E40-27230E084A89}"/>
              </a:ext>
            </a:extLst>
          </p:cNvPr>
          <p:cNvSpPr/>
          <p:nvPr/>
        </p:nvSpPr>
        <p:spPr>
          <a:xfrm>
            <a:off x="6411317" y="5955711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A6A64B3-F2A9-422E-85F4-6CC2555C5EE1}"/>
              </a:ext>
            </a:extLst>
          </p:cNvPr>
          <p:cNvCxnSpPr>
            <a:cxnSpLocks/>
          </p:cNvCxnSpPr>
          <p:nvPr/>
        </p:nvCxnSpPr>
        <p:spPr>
          <a:xfrm rot="10800000" flipH="1">
            <a:off x="6412639" y="2330589"/>
            <a:ext cx="114372" cy="3664517"/>
          </a:xfrm>
          <a:prstGeom prst="bentConnector3">
            <a:avLst>
              <a:gd name="adj1" fmla="val -41085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7CF84FAC-05E5-4F25-B992-ECA07135705B}"/>
              </a:ext>
            </a:extLst>
          </p:cNvPr>
          <p:cNvSpPr/>
          <p:nvPr/>
        </p:nvSpPr>
        <p:spPr>
          <a:xfrm>
            <a:off x="6525689" y="229119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600A33-9CC1-479B-A5DC-A941DF439A4B}"/>
              </a:ext>
            </a:extLst>
          </p:cNvPr>
          <p:cNvSpPr/>
          <p:nvPr/>
        </p:nvSpPr>
        <p:spPr>
          <a:xfrm>
            <a:off x="6525689" y="2410200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597F1B-2708-4516-A871-E7FCD762A7A6}"/>
              </a:ext>
            </a:extLst>
          </p:cNvPr>
          <p:cNvSpPr/>
          <p:nvPr/>
        </p:nvSpPr>
        <p:spPr>
          <a:xfrm>
            <a:off x="6525689" y="253210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893086B-2879-4B94-B0E3-4CE1E8E9824C}"/>
              </a:ext>
            </a:extLst>
          </p:cNvPr>
          <p:cNvSpPr/>
          <p:nvPr/>
        </p:nvSpPr>
        <p:spPr>
          <a:xfrm>
            <a:off x="6527104" y="2654008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4F4B55DD-8228-4510-A268-ED419DB27E21}"/>
              </a:ext>
            </a:extLst>
          </p:cNvPr>
          <p:cNvCxnSpPr>
            <a:cxnSpLocks/>
            <a:stCxn id="38" idx="1"/>
            <a:endCxn id="42" idx="1"/>
          </p:cNvCxnSpPr>
          <p:nvPr/>
        </p:nvCxnSpPr>
        <p:spPr>
          <a:xfrm rot="10800000" flipH="1">
            <a:off x="6411317" y="2464206"/>
            <a:ext cx="114372" cy="3407842"/>
          </a:xfrm>
          <a:prstGeom prst="bentConnector3">
            <a:avLst>
              <a:gd name="adj1" fmla="val -27390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2782E720-8063-4A22-915B-C20AE1C25756}"/>
              </a:ext>
            </a:extLst>
          </p:cNvPr>
          <p:cNvCxnSpPr>
            <a:cxnSpLocks/>
            <a:stCxn id="129" idx="2"/>
            <a:endCxn id="43" idx="1"/>
          </p:cNvCxnSpPr>
          <p:nvPr/>
        </p:nvCxnSpPr>
        <p:spPr>
          <a:xfrm rot="5400000" flipH="1">
            <a:off x="6573362" y="2538437"/>
            <a:ext cx="2253581" cy="2348928"/>
          </a:xfrm>
          <a:prstGeom prst="bentConnector4">
            <a:avLst>
              <a:gd name="adj1" fmla="val -15498"/>
              <a:gd name="adj2" fmla="val 113246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2C333E35-FA17-4BE2-8034-A0F0FA93479B}"/>
              </a:ext>
            </a:extLst>
          </p:cNvPr>
          <p:cNvCxnSpPr>
            <a:cxnSpLocks/>
            <a:stCxn id="128" idx="2"/>
            <a:endCxn id="44" idx="1"/>
          </p:cNvCxnSpPr>
          <p:nvPr/>
        </p:nvCxnSpPr>
        <p:spPr>
          <a:xfrm rot="5400000" flipH="1">
            <a:off x="6580969" y="2654149"/>
            <a:ext cx="2131677" cy="2239408"/>
          </a:xfrm>
          <a:prstGeom prst="bentConnector4">
            <a:avLst>
              <a:gd name="adj1" fmla="val -10724"/>
              <a:gd name="adj2" fmla="val 109357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57765DF-9C89-4999-AAAB-DF078D11F276}"/>
              </a:ext>
            </a:extLst>
          </p:cNvPr>
          <p:cNvSpPr/>
          <p:nvPr/>
        </p:nvSpPr>
        <p:spPr>
          <a:xfrm>
            <a:off x="7164383" y="542708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39C1B00-9544-46C2-BCFF-AEF7F4B2E5DB}"/>
              </a:ext>
            </a:extLst>
          </p:cNvPr>
          <p:cNvSpPr/>
          <p:nvPr/>
        </p:nvSpPr>
        <p:spPr>
          <a:xfrm>
            <a:off x="7164383" y="568784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F9BA59-4150-4B69-AEB3-D6CA3D2D9869}"/>
              </a:ext>
            </a:extLst>
          </p:cNvPr>
          <p:cNvSpPr/>
          <p:nvPr/>
        </p:nvSpPr>
        <p:spPr>
          <a:xfrm>
            <a:off x="7173985" y="555467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D7728AD-6882-4B78-95A9-8B27913044FE}"/>
              </a:ext>
            </a:extLst>
          </p:cNvPr>
          <p:cNvSpPr/>
          <p:nvPr/>
        </p:nvSpPr>
        <p:spPr>
          <a:xfrm>
            <a:off x="7176908" y="5817068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73671E6-FFD4-43CC-87B4-69571835F957}"/>
              </a:ext>
            </a:extLst>
          </p:cNvPr>
          <p:cNvSpPr/>
          <p:nvPr/>
        </p:nvSpPr>
        <p:spPr>
          <a:xfrm>
            <a:off x="8769954" y="609402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7394138-2A42-4E30-90D3-BE119296E9C4}"/>
              </a:ext>
            </a:extLst>
          </p:cNvPr>
          <p:cNvSpPr/>
          <p:nvPr/>
        </p:nvSpPr>
        <p:spPr>
          <a:xfrm>
            <a:off x="8773250" y="627537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9BC0B592-35D8-426D-AF8B-EC6DF8F173BD}"/>
              </a:ext>
            </a:extLst>
          </p:cNvPr>
          <p:cNvCxnSpPr>
            <a:cxnSpLocks/>
            <a:stCxn id="56" idx="1"/>
            <a:endCxn id="51" idx="3"/>
          </p:cNvCxnSpPr>
          <p:nvPr/>
        </p:nvCxnSpPr>
        <p:spPr>
          <a:xfrm rot="10800000">
            <a:off x="7284920" y="5871075"/>
            <a:ext cx="1488330" cy="458305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A06C510B-EC7B-4994-BE6E-6833C8E325F3}"/>
              </a:ext>
            </a:extLst>
          </p:cNvPr>
          <p:cNvCxnSpPr>
            <a:cxnSpLocks/>
            <a:stCxn id="55" idx="1"/>
            <a:endCxn id="49" idx="3"/>
          </p:cNvCxnSpPr>
          <p:nvPr/>
        </p:nvCxnSpPr>
        <p:spPr>
          <a:xfrm rot="10800000">
            <a:off x="7272396" y="5741854"/>
            <a:ext cx="1497559" cy="406175"/>
          </a:xfrm>
          <a:prstGeom prst="bentConnector3">
            <a:avLst>
              <a:gd name="adj1" fmla="val 43411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2989C2FE-6A68-4C72-B052-2F0482B094B2}"/>
              </a:ext>
            </a:extLst>
          </p:cNvPr>
          <p:cNvCxnSpPr>
            <a:cxnSpLocks/>
            <a:stCxn id="62" idx="1"/>
            <a:endCxn id="24" idx="3"/>
          </p:cNvCxnSpPr>
          <p:nvPr/>
        </p:nvCxnSpPr>
        <p:spPr>
          <a:xfrm rot="10800000" flipV="1">
            <a:off x="3474890" y="2110907"/>
            <a:ext cx="3044707" cy="36991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57B58A18-D0A0-44C0-9AF0-9D21158CA0D0}"/>
              </a:ext>
            </a:extLst>
          </p:cNvPr>
          <p:cNvSpPr/>
          <p:nvPr/>
        </p:nvSpPr>
        <p:spPr>
          <a:xfrm>
            <a:off x="6519596" y="2056901"/>
            <a:ext cx="108012" cy="1080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6BBA263-B27A-4BCE-9F07-341C73AC3E53}"/>
              </a:ext>
            </a:extLst>
          </p:cNvPr>
          <p:cNvSpPr txBox="1"/>
          <p:nvPr/>
        </p:nvSpPr>
        <p:spPr>
          <a:xfrm>
            <a:off x="5676335" y="2021516"/>
            <a:ext cx="432000" cy="180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80K</a:t>
            </a:r>
            <a:endParaRPr lang="en-DE" sz="1200" dirty="0" err="1"/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9453F375-20C2-4E41-913D-55893F0FD30E}"/>
              </a:ext>
            </a:extLst>
          </p:cNvPr>
          <p:cNvCxnSpPr>
            <a:cxnSpLocks/>
            <a:stCxn id="189" idx="1"/>
            <a:endCxn id="83" idx="3"/>
          </p:cNvCxnSpPr>
          <p:nvPr/>
        </p:nvCxnSpPr>
        <p:spPr>
          <a:xfrm rot="10800000">
            <a:off x="7713281" y="2563741"/>
            <a:ext cx="1771855" cy="115894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5B70C88F-710E-4BC6-A0D5-B33FB66D3178}"/>
              </a:ext>
            </a:extLst>
          </p:cNvPr>
          <p:cNvSpPr/>
          <p:nvPr/>
        </p:nvSpPr>
        <p:spPr>
          <a:xfrm>
            <a:off x="7605268" y="250973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596B921-F667-4576-8D62-957D6310FCF2}"/>
              </a:ext>
            </a:extLst>
          </p:cNvPr>
          <p:cNvSpPr txBox="1"/>
          <p:nvPr/>
        </p:nvSpPr>
        <p:spPr>
          <a:xfrm>
            <a:off x="1085496" y="6168262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Battery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18650 Li-Ion Zelle ]</a:t>
            </a:r>
            <a:endParaRPr lang="en-DE" sz="1000" dirty="0" err="1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24A10A2-7C2C-4E93-B4F3-66A60FBC816A}"/>
              </a:ext>
            </a:extLst>
          </p:cNvPr>
          <p:cNvSpPr txBox="1"/>
          <p:nvPr/>
        </p:nvSpPr>
        <p:spPr>
          <a:xfrm>
            <a:off x="970530" y="2367514"/>
            <a:ext cx="1742104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BM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TC4056 + </a:t>
            </a:r>
            <a:r>
              <a:rPr lang="de-DE" sz="1000" dirty="0" err="1"/>
              <a:t>Discharge</a:t>
            </a:r>
            <a:r>
              <a:rPr lang="de-DE" sz="1000" dirty="0"/>
              <a:t> </a:t>
            </a:r>
            <a:r>
              <a:rPr lang="de-DE" sz="1000" dirty="0" err="1"/>
              <a:t>Protection</a:t>
            </a:r>
            <a:r>
              <a:rPr lang="de-DE" sz="1000" dirty="0"/>
              <a:t>]</a:t>
            </a:r>
            <a:endParaRPr lang="en-DE" sz="1000" dirty="0" err="1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335C3F6-CA20-41BC-B22E-8346700467A0}"/>
              </a:ext>
            </a:extLst>
          </p:cNvPr>
          <p:cNvSpPr txBox="1"/>
          <p:nvPr/>
        </p:nvSpPr>
        <p:spPr>
          <a:xfrm>
            <a:off x="3153223" y="1457596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Schalter</a:t>
            </a:r>
            <a:endParaRPr lang="en-DE" sz="1000" dirty="0" err="1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47E31C9-0F40-45D6-A960-9C87A684D956}"/>
              </a:ext>
            </a:extLst>
          </p:cNvPr>
          <p:cNvSpPr txBox="1"/>
          <p:nvPr/>
        </p:nvSpPr>
        <p:spPr>
          <a:xfrm>
            <a:off x="6576240" y="1256178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ontroll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EMOS D1 Mini ]</a:t>
            </a:r>
            <a:endParaRPr lang="en-DE" sz="1000" dirty="0" err="1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08BB9A4-C48B-4DF6-A5F0-BF0A2D6B6190}"/>
              </a:ext>
            </a:extLst>
          </p:cNvPr>
          <p:cNvSpPr txBox="1"/>
          <p:nvPr/>
        </p:nvSpPr>
        <p:spPr>
          <a:xfrm>
            <a:off x="3575329" y="3604946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B2575387-A704-4AC6-BEF1-2E44882784EE}"/>
              </a:ext>
            </a:extLst>
          </p:cNvPr>
          <p:cNvSpPr txBox="1"/>
          <p:nvPr/>
        </p:nvSpPr>
        <p:spPr>
          <a:xfrm>
            <a:off x="6204153" y="6244294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treib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DRV8833 H-Bridge ]</a:t>
            </a:r>
            <a:endParaRPr lang="en-DE" sz="1000" dirty="0" err="1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ABF6B63-4E15-4A11-8665-4BE7FC26F4A5}"/>
              </a:ext>
            </a:extLst>
          </p:cNvPr>
          <p:cNvSpPr/>
          <p:nvPr/>
        </p:nvSpPr>
        <p:spPr>
          <a:xfrm>
            <a:off x="3387284" y="3456979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FC6C272E-2DA5-4B54-8B96-AFBED35377A4}"/>
              </a:ext>
            </a:extLst>
          </p:cNvPr>
          <p:cNvSpPr/>
          <p:nvPr/>
        </p:nvSpPr>
        <p:spPr>
          <a:xfrm>
            <a:off x="8052852" y="3441811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7B976AC9-1A4B-4F13-9394-CE88C210FA07}"/>
              </a:ext>
            </a:extLst>
          </p:cNvPr>
          <p:cNvSpPr/>
          <p:nvPr/>
        </p:nvSpPr>
        <p:spPr>
          <a:xfrm>
            <a:off x="3200080" y="3457647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2C7FF4B0-BE53-4852-ADE4-5A080357159B}"/>
              </a:ext>
            </a:extLst>
          </p:cNvPr>
          <p:cNvSpPr/>
          <p:nvPr/>
        </p:nvSpPr>
        <p:spPr>
          <a:xfrm>
            <a:off x="7924625" y="3042714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D15DBD6-0AAB-4397-9A37-94EA07D23FCA}"/>
              </a:ext>
            </a:extLst>
          </p:cNvPr>
          <p:cNvSpPr/>
          <p:nvPr/>
        </p:nvSpPr>
        <p:spPr>
          <a:xfrm>
            <a:off x="7164383" y="594494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A7E02909-2C03-4450-8FB3-167DDE9F4B66}"/>
              </a:ext>
            </a:extLst>
          </p:cNvPr>
          <p:cNvCxnSpPr>
            <a:cxnSpLocks/>
            <a:stCxn id="122" idx="3"/>
            <a:endCxn id="124" idx="1"/>
          </p:cNvCxnSpPr>
          <p:nvPr/>
        </p:nvCxnSpPr>
        <p:spPr>
          <a:xfrm flipH="1" flipV="1">
            <a:off x="6523544" y="2226990"/>
            <a:ext cx="748851" cy="3771958"/>
          </a:xfrm>
          <a:prstGeom prst="bentConnector5">
            <a:avLst>
              <a:gd name="adj1" fmla="val -30527"/>
              <a:gd name="adj2" fmla="val -5667"/>
              <a:gd name="adj3" fmla="val 197799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2DDAD54-D769-4590-B759-D3C725587589}"/>
              </a:ext>
            </a:extLst>
          </p:cNvPr>
          <p:cNvSpPr/>
          <p:nvPr/>
        </p:nvSpPr>
        <p:spPr>
          <a:xfrm>
            <a:off x="6523544" y="217298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BDF631B-C341-4216-B6C9-D61F9D6C6283}"/>
              </a:ext>
            </a:extLst>
          </p:cNvPr>
          <p:cNvSpPr/>
          <p:nvPr/>
        </p:nvSpPr>
        <p:spPr>
          <a:xfrm>
            <a:off x="1285168" y="282581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FA1BBAF-7BA1-4C8C-9E48-4EB9E51287A7}"/>
              </a:ext>
            </a:extLst>
          </p:cNvPr>
          <p:cNvSpPr/>
          <p:nvPr/>
        </p:nvSpPr>
        <p:spPr>
          <a:xfrm>
            <a:off x="1285168" y="342117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208E4BE-6D75-4F03-8808-4DD1C358E60C}"/>
              </a:ext>
            </a:extLst>
          </p:cNvPr>
          <p:cNvSpPr/>
          <p:nvPr/>
        </p:nvSpPr>
        <p:spPr>
          <a:xfrm>
            <a:off x="182044" y="283107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C775EBC-0132-4901-AB25-2262ABAC2D66}"/>
              </a:ext>
            </a:extLst>
          </p:cNvPr>
          <p:cNvSpPr/>
          <p:nvPr/>
        </p:nvSpPr>
        <p:spPr>
          <a:xfrm>
            <a:off x="182044" y="342643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55820E37-0C45-44B1-B435-BBC9ED95193A}"/>
              </a:ext>
            </a:extLst>
          </p:cNvPr>
          <p:cNvCxnSpPr>
            <a:stCxn id="89" idx="3"/>
            <a:endCxn id="87" idx="1"/>
          </p:cNvCxnSpPr>
          <p:nvPr/>
        </p:nvCxnSpPr>
        <p:spPr>
          <a:xfrm flipV="1">
            <a:off x="290056" y="2879825"/>
            <a:ext cx="995112" cy="525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DABB561-7A2D-4604-AAA6-323A402674E9}"/>
              </a:ext>
            </a:extLst>
          </p:cNvPr>
          <p:cNvCxnSpPr>
            <a:cxnSpLocks/>
            <a:stCxn id="90" idx="3"/>
            <a:endCxn id="88" idx="1"/>
          </p:cNvCxnSpPr>
          <p:nvPr/>
        </p:nvCxnSpPr>
        <p:spPr>
          <a:xfrm flipV="1">
            <a:off x="290056" y="3475185"/>
            <a:ext cx="995112" cy="525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174B6F9-C102-4921-968C-F5CB6F6FBBED}"/>
              </a:ext>
            </a:extLst>
          </p:cNvPr>
          <p:cNvCxnSpPr/>
          <p:nvPr/>
        </p:nvCxnSpPr>
        <p:spPr>
          <a:xfrm>
            <a:off x="522855" y="3132397"/>
            <a:ext cx="288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FEA7BC8-A55F-45D7-941C-78B976F42945}"/>
              </a:ext>
            </a:extLst>
          </p:cNvPr>
          <p:cNvCxnSpPr/>
          <p:nvPr/>
        </p:nvCxnSpPr>
        <p:spPr>
          <a:xfrm>
            <a:off x="522855" y="3243229"/>
            <a:ext cx="288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9F8710D5-6406-4E31-B57C-2ECA039ED576}"/>
              </a:ext>
            </a:extLst>
          </p:cNvPr>
          <p:cNvCxnSpPr>
            <a:cxnSpLocks/>
          </p:cNvCxnSpPr>
          <p:nvPr/>
        </p:nvCxnSpPr>
        <p:spPr>
          <a:xfrm flipV="1">
            <a:off x="654565" y="2885077"/>
            <a:ext cx="0" cy="23842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7438F7CA-349B-4E7A-85A3-1288C2000933}"/>
              </a:ext>
            </a:extLst>
          </p:cNvPr>
          <p:cNvCxnSpPr>
            <a:cxnSpLocks/>
          </p:cNvCxnSpPr>
          <p:nvPr/>
        </p:nvCxnSpPr>
        <p:spPr>
          <a:xfrm flipV="1">
            <a:off x="654565" y="3243229"/>
            <a:ext cx="0" cy="23842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Oval 105">
            <a:extLst>
              <a:ext uri="{FF2B5EF4-FFF2-40B4-BE49-F238E27FC236}">
                <a16:creationId xmlns:a16="http://schemas.microsoft.com/office/drawing/2014/main" id="{E08B960C-61AC-4051-88D4-6D731CD9EB66}"/>
              </a:ext>
            </a:extLst>
          </p:cNvPr>
          <p:cNvSpPr/>
          <p:nvPr/>
        </p:nvSpPr>
        <p:spPr>
          <a:xfrm>
            <a:off x="620229" y="345510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F1BA8770-8C99-4CB1-A263-735A091A855D}"/>
              </a:ext>
            </a:extLst>
          </p:cNvPr>
          <p:cNvSpPr/>
          <p:nvPr/>
        </p:nvSpPr>
        <p:spPr>
          <a:xfrm>
            <a:off x="616464" y="2842698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0FD5904B-63EB-4E32-9320-4E209A716B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6200000">
            <a:off x="8566356" y="3922704"/>
            <a:ext cx="939900" cy="918975"/>
          </a:xfrm>
          <a:prstGeom prst="rect">
            <a:avLst/>
          </a:prstGeom>
        </p:spPr>
      </p:pic>
      <p:sp>
        <p:nvSpPr>
          <p:cNvPr id="117" name="Rectangle 116">
            <a:extLst>
              <a:ext uri="{FF2B5EF4-FFF2-40B4-BE49-F238E27FC236}">
                <a16:creationId xmlns:a16="http://schemas.microsoft.com/office/drawing/2014/main" id="{B8ACBC0B-D44C-4D45-B20A-48224C41894E}"/>
              </a:ext>
            </a:extLst>
          </p:cNvPr>
          <p:cNvSpPr/>
          <p:nvPr/>
        </p:nvSpPr>
        <p:spPr>
          <a:xfrm>
            <a:off x="8608559" y="473167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F234DB90-9875-4DDF-8AE5-ADF475AA0D7D}"/>
              </a:ext>
            </a:extLst>
          </p:cNvPr>
          <p:cNvSpPr/>
          <p:nvPr/>
        </p:nvSpPr>
        <p:spPr>
          <a:xfrm>
            <a:off x="9257897" y="473167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C8CD90C4-4100-4C1A-A2C6-516E6CF54C0A}"/>
              </a:ext>
            </a:extLst>
          </p:cNvPr>
          <p:cNvSpPr/>
          <p:nvPr/>
        </p:nvSpPr>
        <p:spPr>
          <a:xfrm>
            <a:off x="9365971" y="4731679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14F1925-F1DC-49F5-B223-E33F49A94E07}"/>
              </a:ext>
            </a:extLst>
          </p:cNvPr>
          <p:cNvSpPr/>
          <p:nvPr/>
        </p:nvSpPr>
        <p:spPr>
          <a:xfrm>
            <a:off x="9149854" y="4731679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C8FAD887-3668-4C2D-9BAB-77279C5691BA}"/>
              </a:ext>
            </a:extLst>
          </p:cNvPr>
          <p:cNvSpPr/>
          <p:nvPr/>
        </p:nvSpPr>
        <p:spPr>
          <a:xfrm>
            <a:off x="8712506" y="47316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E2993734-4430-4457-8292-53D7BF174C27}"/>
              </a:ext>
            </a:extLst>
          </p:cNvPr>
          <p:cNvSpPr/>
          <p:nvPr/>
        </p:nvSpPr>
        <p:spPr>
          <a:xfrm>
            <a:off x="8820611" y="47316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417E1520-5839-488C-968A-9E7EBD14E172}"/>
              </a:ext>
            </a:extLst>
          </p:cNvPr>
          <p:cNvCxnSpPr>
            <a:cxnSpLocks/>
            <a:stCxn id="120" idx="4"/>
            <a:endCxn id="125" idx="2"/>
          </p:cNvCxnSpPr>
          <p:nvPr/>
        </p:nvCxnSpPr>
        <p:spPr>
          <a:xfrm rot="16200000" flipH="1">
            <a:off x="8037437" y="3565225"/>
            <a:ext cx="1325880" cy="1223051"/>
          </a:xfrm>
          <a:prstGeom prst="bentConnector3">
            <a:avLst>
              <a:gd name="adj1" fmla="val 144061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EA5BBE29-E830-4AA8-9672-F3D02FD3A51A}"/>
              </a:ext>
            </a:extLst>
          </p:cNvPr>
          <p:cNvCxnSpPr>
            <a:cxnSpLocks/>
            <a:stCxn id="134" idx="4"/>
            <a:endCxn id="117" idx="2"/>
          </p:cNvCxnSpPr>
          <p:nvPr/>
        </p:nvCxnSpPr>
        <p:spPr>
          <a:xfrm rot="16200000" flipH="1">
            <a:off x="7449107" y="3626232"/>
            <a:ext cx="1724977" cy="701940"/>
          </a:xfrm>
          <a:prstGeom prst="bentConnector3">
            <a:avLst>
              <a:gd name="adj1" fmla="val 126136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687DAEDB-0555-4C11-8F96-A127BAB1CDF9}"/>
              </a:ext>
            </a:extLst>
          </p:cNvPr>
          <p:cNvCxnSpPr>
            <a:cxnSpLocks/>
            <a:stCxn id="165" idx="1"/>
            <a:endCxn id="127" idx="2"/>
          </p:cNvCxnSpPr>
          <p:nvPr/>
        </p:nvCxnSpPr>
        <p:spPr>
          <a:xfrm rot="10800000">
            <a:off x="9203861" y="4839692"/>
            <a:ext cx="1451155" cy="508217"/>
          </a:xfrm>
          <a:prstGeom prst="bent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A6660C19-028D-4160-878F-E7C16247C899}"/>
              </a:ext>
            </a:extLst>
          </p:cNvPr>
          <p:cNvCxnSpPr>
            <a:cxnSpLocks/>
            <a:stCxn id="164" idx="1"/>
            <a:endCxn id="126" idx="2"/>
          </p:cNvCxnSpPr>
          <p:nvPr/>
        </p:nvCxnSpPr>
        <p:spPr>
          <a:xfrm rot="10800000">
            <a:off x="9419978" y="4839691"/>
            <a:ext cx="1228477" cy="343980"/>
          </a:xfrm>
          <a:prstGeom prst="bent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35CEFD73-3EC7-42BF-B3CB-3109FAE6DF91}"/>
              </a:ext>
            </a:extLst>
          </p:cNvPr>
          <p:cNvSpPr/>
          <p:nvPr/>
        </p:nvSpPr>
        <p:spPr>
          <a:xfrm>
            <a:off x="10648454" y="5129665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BFCD8BE4-7DDE-432D-9B98-6929FC3661C0}"/>
              </a:ext>
            </a:extLst>
          </p:cNvPr>
          <p:cNvSpPr/>
          <p:nvPr/>
        </p:nvSpPr>
        <p:spPr>
          <a:xfrm>
            <a:off x="10655015" y="5293902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70" name="Picture 4">
            <a:extLst>
              <a:ext uri="{FF2B5EF4-FFF2-40B4-BE49-F238E27FC236}">
                <a16:creationId xmlns:a16="http://schemas.microsoft.com/office/drawing/2014/main" id="{A123ED6B-2F82-45B6-A9EE-DF0A56D3EB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1277718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3" name="Rectangle 172">
            <a:extLst>
              <a:ext uri="{FF2B5EF4-FFF2-40B4-BE49-F238E27FC236}">
                <a16:creationId xmlns:a16="http://schemas.microsoft.com/office/drawing/2014/main" id="{99CC7824-FB92-47E4-A52C-FD41DF463B7C}"/>
              </a:ext>
            </a:extLst>
          </p:cNvPr>
          <p:cNvSpPr/>
          <p:nvPr/>
        </p:nvSpPr>
        <p:spPr>
          <a:xfrm>
            <a:off x="10131957" y="184475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C70302B9-8694-411B-B422-0A0FCFC4A6E6}"/>
              </a:ext>
            </a:extLst>
          </p:cNvPr>
          <p:cNvSpPr/>
          <p:nvPr/>
        </p:nvSpPr>
        <p:spPr>
          <a:xfrm>
            <a:off x="9991013" y="184475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DE77767A-D306-42EC-8F7A-603B27586531}"/>
              </a:ext>
            </a:extLst>
          </p:cNvPr>
          <p:cNvSpPr/>
          <p:nvPr/>
        </p:nvSpPr>
        <p:spPr>
          <a:xfrm>
            <a:off x="10272901" y="1844759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77" name="Picture 4">
            <a:extLst>
              <a:ext uri="{FF2B5EF4-FFF2-40B4-BE49-F238E27FC236}">
                <a16:creationId xmlns:a16="http://schemas.microsoft.com/office/drawing/2014/main" id="{E84C4D6F-4CFE-4022-9C3E-64AE2B6949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2072144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8" name="Rectangle 177">
            <a:extLst>
              <a:ext uri="{FF2B5EF4-FFF2-40B4-BE49-F238E27FC236}">
                <a16:creationId xmlns:a16="http://schemas.microsoft.com/office/drawing/2014/main" id="{3B05168D-3C69-49FE-BCBB-A0ED00712925}"/>
              </a:ext>
            </a:extLst>
          </p:cNvPr>
          <p:cNvSpPr/>
          <p:nvPr/>
        </p:nvSpPr>
        <p:spPr>
          <a:xfrm>
            <a:off x="10131957" y="2639185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E0280660-0DA9-4D59-B9A4-024344E9DAB7}"/>
              </a:ext>
            </a:extLst>
          </p:cNvPr>
          <p:cNvSpPr/>
          <p:nvPr/>
        </p:nvSpPr>
        <p:spPr>
          <a:xfrm>
            <a:off x="9991013" y="263918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1E337429-F0DF-480C-BE99-D32F913EBB5A}"/>
              </a:ext>
            </a:extLst>
          </p:cNvPr>
          <p:cNvSpPr/>
          <p:nvPr/>
        </p:nvSpPr>
        <p:spPr>
          <a:xfrm>
            <a:off x="10272901" y="2639185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81" name="Picture 4">
            <a:extLst>
              <a:ext uri="{FF2B5EF4-FFF2-40B4-BE49-F238E27FC236}">
                <a16:creationId xmlns:a16="http://schemas.microsoft.com/office/drawing/2014/main" id="{5CF6C160-E2EB-482F-95A6-089FE13B74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2868235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2" name="Rectangle 181">
            <a:extLst>
              <a:ext uri="{FF2B5EF4-FFF2-40B4-BE49-F238E27FC236}">
                <a16:creationId xmlns:a16="http://schemas.microsoft.com/office/drawing/2014/main" id="{C0E8B308-8248-408D-872A-A636E16025EE}"/>
              </a:ext>
            </a:extLst>
          </p:cNvPr>
          <p:cNvSpPr/>
          <p:nvPr/>
        </p:nvSpPr>
        <p:spPr>
          <a:xfrm>
            <a:off x="10131957" y="3435276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5A8EBDC4-F91A-4495-8A0E-0E94F45160C4}"/>
              </a:ext>
            </a:extLst>
          </p:cNvPr>
          <p:cNvSpPr/>
          <p:nvPr/>
        </p:nvSpPr>
        <p:spPr>
          <a:xfrm>
            <a:off x="9991013" y="343527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C2D3C706-AEE7-4AE7-8E04-8CBDD25B7DAB}"/>
              </a:ext>
            </a:extLst>
          </p:cNvPr>
          <p:cNvSpPr/>
          <p:nvPr/>
        </p:nvSpPr>
        <p:spPr>
          <a:xfrm>
            <a:off x="10272901" y="3435276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grpSp>
        <p:nvGrpSpPr>
          <p:cNvPr id="13312" name="Group 13311">
            <a:extLst>
              <a:ext uri="{FF2B5EF4-FFF2-40B4-BE49-F238E27FC236}">
                <a16:creationId xmlns:a16="http://schemas.microsoft.com/office/drawing/2014/main" id="{3D0030C0-D504-439E-AD95-DE6DE5B1E1A8}"/>
              </a:ext>
            </a:extLst>
          </p:cNvPr>
          <p:cNvGrpSpPr/>
          <p:nvPr/>
        </p:nvGrpSpPr>
        <p:grpSpPr>
          <a:xfrm rot="16200000">
            <a:off x="7295453" y="97885"/>
            <a:ext cx="619272" cy="1137438"/>
            <a:chOff x="8664872" y="228526"/>
            <a:chExt cx="619272" cy="1137438"/>
          </a:xfrm>
        </p:grpSpPr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C1767658-E408-4C1C-BA37-26420B6AA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 rot="10800000">
              <a:off x="8664872" y="228526"/>
              <a:ext cx="619272" cy="1137438"/>
            </a:xfrm>
            <a:prstGeom prst="rect">
              <a:avLst/>
            </a:prstGeom>
          </p:spPr>
        </p:pic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87276C41-5869-4249-92AA-CC871BA58873}"/>
                </a:ext>
              </a:extLst>
            </p:cNvPr>
            <p:cNvSpPr/>
            <p:nvPr/>
          </p:nvSpPr>
          <p:spPr>
            <a:xfrm>
              <a:off x="8840896" y="1231861"/>
              <a:ext cx="108012" cy="1080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F500E488-A735-4086-9A54-E1CF24F7E7F1}"/>
                </a:ext>
              </a:extLst>
            </p:cNvPr>
            <p:cNvSpPr/>
            <p:nvPr/>
          </p:nvSpPr>
          <p:spPr>
            <a:xfrm>
              <a:off x="8702190" y="1231861"/>
              <a:ext cx="108012" cy="1080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D3C63CB5-9816-4C58-BC00-48FDAF44F7B8}"/>
                </a:ext>
              </a:extLst>
            </p:cNvPr>
            <p:cNvSpPr/>
            <p:nvPr/>
          </p:nvSpPr>
          <p:spPr>
            <a:xfrm>
              <a:off x="9126151" y="1231861"/>
              <a:ext cx="108012" cy="10801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9317C922-EEF4-4BE8-A363-46C8FB5656B2}"/>
                </a:ext>
              </a:extLst>
            </p:cNvPr>
            <p:cNvSpPr/>
            <p:nvPr/>
          </p:nvSpPr>
          <p:spPr>
            <a:xfrm>
              <a:off x="8985207" y="1231861"/>
              <a:ext cx="108012" cy="10801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</p:grpSp>
      <p:sp>
        <p:nvSpPr>
          <p:cNvPr id="189" name="TextBox 188">
            <a:extLst>
              <a:ext uri="{FF2B5EF4-FFF2-40B4-BE49-F238E27FC236}">
                <a16:creationId xmlns:a16="http://schemas.microsoft.com/office/drawing/2014/main" id="{6035375B-11C6-4F57-A7CD-3634EDE8E907}"/>
              </a:ext>
            </a:extLst>
          </p:cNvPr>
          <p:cNvSpPr txBox="1"/>
          <p:nvPr/>
        </p:nvSpPr>
        <p:spPr>
          <a:xfrm>
            <a:off x="9485135" y="3630348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B44FCC7E-8111-4ECE-803C-414754B319BC}"/>
              </a:ext>
            </a:extLst>
          </p:cNvPr>
          <p:cNvSpPr txBox="1"/>
          <p:nvPr/>
        </p:nvSpPr>
        <p:spPr>
          <a:xfrm>
            <a:off x="7879595" y="1150322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0K</a:t>
            </a:r>
            <a:endParaRPr lang="en-DE" sz="1200" dirty="0" err="1"/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73217832-A517-4F63-A4CC-3DCD2D44E1DB}"/>
              </a:ext>
            </a:extLst>
          </p:cNvPr>
          <p:cNvSpPr/>
          <p:nvPr/>
        </p:nvSpPr>
        <p:spPr>
          <a:xfrm>
            <a:off x="8041779" y="265812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C071345-8532-4DC2-A85A-0573E49AAE53}"/>
              </a:ext>
            </a:extLst>
          </p:cNvPr>
          <p:cNvCxnSpPr>
            <a:cxnSpLocks/>
            <a:stCxn id="195" idx="6"/>
            <a:endCxn id="179" idx="1"/>
          </p:cNvCxnSpPr>
          <p:nvPr/>
        </p:nvCxnSpPr>
        <p:spPr>
          <a:xfrm flipV="1">
            <a:off x="8113779" y="2693191"/>
            <a:ext cx="1877234" cy="93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Oval 199">
            <a:extLst>
              <a:ext uri="{FF2B5EF4-FFF2-40B4-BE49-F238E27FC236}">
                <a16:creationId xmlns:a16="http://schemas.microsoft.com/office/drawing/2014/main" id="{B93C7E2D-6AE8-4EDA-A6A3-1AA3106E2D97}"/>
              </a:ext>
            </a:extLst>
          </p:cNvPr>
          <p:cNvSpPr/>
          <p:nvPr/>
        </p:nvSpPr>
        <p:spPr>
          <a:xfrm>
            <a:off x="9669496" y="265812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6AE58581-B8E5-40CA-9019-28FE1788A5F2}"/>
              </a:ext>
            </a:extLst>
          </p:cNvPr>
          <p:cNvCxnSpPr>
            <a:cxnSpLocks/>
            <a:stCxn id="183" idx="1"/>
            <a:endCxn id="200" idx="4"/>
          </p:cNvCxnSpPr>
          <p:nvPr/>
        </p:nvCxnSpPr>
        <p:spPr>
          <a:xfrm rot="10800000">
            <a:off x="9705497" y="2730122"/>
            <a:ext cx="285517" cy="759160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BA938332-FB33-4C98-8096-0E1B4C7E164B}"/>
              </a:ext>
            </a:extLst>
          </p:cNvPr>
          <p:cNvCxnSpPr>
            <a:cxnSpLocks/>
            <a:stCxn id="174" idx="1"/>
            <a:endCxn id="200" idx="0"/>
          </p:cNvCxnSpPr>
          <p:nvPr/>
        </p:nvCxnSpPr>
        <p:spPr>
          <a:xfrm rot="10800000" flipV="1">
            <a:off x="9705497" y="1898764"/>
            <a:ext cx="285517" cy="759357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84ACEBE2-F1C0-4062-A651-9F626B18A9F2}"/>
              </a:ext>
            </a:extLst>
          </p:cNvPr>
          <p:cNvSpPr txBox="1"/>
          <p:nvPr/>
        </p:nvSpPr>
        <p:spPr>
          <a:xfrm>
            <a:off x="9485135" y="2790966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BA72EEA6-36D1-485C-99B0-B25437BFCD25}"/>
              </a:ext>
            </a:extLst>
          </p:cNvPr>
          <p:cNvSpPr txBox="1"/>
          <p:nvPr/>
        </p:nvSpPr>
        <p:spPr>
          <a:xfrm>
            <a:off x="9485135" y="1997885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6F11CA19-1210-4809-955F-5E5B4C744870}"/>
              </a:ext>
            </a:extLst>
          </p:cNvPr>
          <p:cNvSpPr/>
          <p:nvPr/>
        </p:nvSpPr>
        <p:spPr>
          <a:xfrm>
            <a:off x="7593656" y="2287398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4D56C892-3A12-4F89-9BA6-BC4C4B271E6D}"/>
              </a:ext>
            </a:extLst>
          </p:cNvPr>
          <p:cNvSpPr/>
          <p:nvPr/>
        </p:nvSpPr>
        <p:spPr>
          <a:xfrm>
            <a:off x="7595391" y="216161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18" name="Connector: Elbow 217">
            <a:extLst>
              <a:ext uri="{FF2B5EF4-FFF2-40B4-BE49-F238E27FC236}">
                <a16:creationId xmlns:a16="http://schemas.microsoft.com/office/drawing/2014/main" id="{065739BB-D8F0-46ED-8836-F28E2BDA3FA0}"/>
              </a:ext>
            </a:extLst>
          </p:cNvPr>
          <p:cNvCxnSpPr>
            <a:cxnSpLocks/>
            <a:stCxn id="193" idx="1"/>
            <a:endCxn id="215" idx="3"/>
          </p:cNvCxnSpPr>
          <p:nvPr/>
        </p:nvCxnSpPr>
        <p:spPr>
          <a:xfrm rot="10800000">
            <a:off x="7701669" y="2341405"/>
            <a:ext cx="1783467" cy="54189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272FA70A-155A-43E5-B646-543B7A9DCA1E}"/>
              </a:ext>
            </a:extLst>
          </p:cNvPr>
          <p:cNvCxnSpPr>
            <a:cxnSpLocks/>
            <a:stCxn id="194" idx="1"/>
            <a:endCxn id="216" idx="3"/>
          </p:cNvCxnSpPr>
          <p:nvPr/>
        </p:nvCxnSpPr>
        <p:spPr>
          <a:xfrm rot="10800000" flipV="1">
            <a:off x="7703403" y="2090218"/>
            <a:ext cx="1781732" cy="12540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Connector: Elbow 224">
            <a:extLst>
              <a:ext uri="{FF2B5EF4-FFF2-40B4-BE49-F238E27FC236}">
                <a16:creationId xmlns:a16="http://schemas.microsoft.com/office/drawing/2014/main" id="{9E50825A-1C4F-421F-9FA7-81EB158FB756}"/>
              </a:ext>
            </a:extLst>
          </p:cNvPr>
          <p:cNvCxnSpPr>
            <a:cxnSpLocks/>
            <a:stCxn id="173" idx="2"/>
          </p:cNvCxnSpPr>
          <p:nvPr/>
        </p:nvCxnSpPr>
        <p:spPr>
          <a:xfrm rot="5400000">
            <a:off x="9990792" y="1887820"/>
            <a:ext cx="130220" cy="260122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nector: Elbow 227">
            <a:extLst>
              <a:ext uri="{FF2B5EF4-FFF2-40B4-BE49-F238E27FC236}">
                <a16:creationId xmlns:a16="http://schemas.microsoft.com/office/drawing/2014/main" id="{52770EFB-67AA-46E3-B573-758C5D92F5F2}"/>
              </a:ext>
            </a:extLst>
          </p:cNvPr>
          <p:cNvCxnSpPr>
            <a:cxnSpLocks/>
            <a:stCxn id="178" idx="2"/>
            <a:endCxn id="193" idx="3"/>
          </p:cNvCxnSpPr>
          <p:nvPr/>
        </p:nvCxnSpPr>
        <p:spPr>
          <a:xfrm rot="5400000">
            <a:off x="9983498" y="2680834"/>
            <a:ext cx="136102" cy="268828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Connector: Elbow 230">
            <a:extLst>
              <a:ext uri="{FF2B5EF4-FFF2-40B4-BE49-F238E27FC236}">
                <a16:creationId xmlns:a16="http://schemas.microsoft.com/office/drawing/2014/main" id="{20A215DA-71AF-4F17-AADB-8DBEE2A81BF2}"/>
              </a:ext>
            </a:extLst>
          </p:cNvPr>
          <p:cNvCxnSpPr>
            <a:cxnSpLocks/>
            <a:stCxn id="182" idx="2"/>
            <a:endCxn id="189" idx="3"/>
          </p:cNvCxnSpPr>
          <p:nvPr/>
        </p:nvCxnSpPr>
        <p:spPr>
          <a:xfrm rot="5400000">
            <a:off x="9961853" y="3498570"/>
            <a:ext cx="179393" cy="268828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Connector: Elbow 233">
            <a:extLst>
              <a:ext uri="{FF2B5EF4-FFF2-40B4-BE49-F238E27FC236}">
                <a16:creationId xmlns:a16="http://schemas.microsoft.com/office/drawing/2014/main" id="{02BB35B2-A03F-4181-8C16-D4CE67A97DA3}"/>
              </a:ext>
            </a:extLst>
          </p:cNvPr>
          <p:cNvCxnSpPr>
            <a:cxnSpLocks/>
            <a:stCxn id="184" idx="3"/>
            <a:endCxn id="245" idx="1"/>
          </p:cNvCxnSpPr>
          <p:nvPr/>
        </p:nvCxnSpPr>
        <p:spPr>
          <a:xfrm>
            <a:off x="10380913" y="3489282"/>
            <a:ext cx="697319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TextBox 236">
            <a:extLst>
              <a:ext uri="{FF2B5EF4-FFF2-40B4-BE49-F238E27FC236}">
                <a16:creationId xmlns:a16="http://schemas.microsoft.com/office/drawing/2014/main" id="{E92128A6-A3B5-48FA-B377-90DC23B6B37B}"/>
              </a:ext>
            </a:extLst>
          </p:cNvPr>
          <p:cNvSpPr txBox="1"/>
          <p:nvPr/>
        </p:nvSpPr>
        <p:spPr>
          <a:xfrm>
            <a:off x="11146367" y="1752426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35ED4CA6-93B2-448C-9908-F654DE0667A2}"/>
              </a:ext>
            </a:extLst>
          </p:cNvPr>
          <p:cNvSpPr/>
          <p:nvPr/>
        </p:nvSpPr>
        <p:spPr>
          <a:xfrm>
            <a:off x="11078232" y="173674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75E73609-D363-4E0C-8EB2-8DD421B51BEE}"/>
              </a:ext>
            </a:extLst>
          </p:cNvPr>
          <p:cNvSpPr/>
          <p:nvPr/>
        </p:nvSpPr>
        <p:spPr>
          <a:xfrm>
            <a:off x="11078232" y="184291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DF289541-D62C-4244-A272-D2DB0E9D6B60}"/>
              </a:ext>
            </a:extLst>
          </p:cNvPr>
          <p:cNvSpPr txBox="1"/>
          <p:nvPr/>
        </p:nvSpPr>
        <p:spPr>
          <a:xfrm>
            <a:off x="11146367" y="2545455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CE95B0D7-6D72-4230-B415-394FE0EEB98D}"/>
              </a:ext>
            </a:extLst>
          </p:cNvPr>
          <p:cNvSpPr/>
          <p:nvPr/>
        </p:nvSpPr>
        <p:spPr>
          <a:xfrm>
            <a:off x="11078232" y="2529776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0E676C0A-5906-4122-B4C1-B3FE0C1BBE20}"/>
              </a:ext>
            </a:extLst>
          </p:cNvPr>
          <p:cNvSpPr/>
          <p:nvPr/>
        </p:nvSpPr>
        <p:spPr>
          <a:xfrm>
            <a:off x="11078232" y="263594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3784D2D3-8D25-4076-B67C-8D91AE54B7D7}"/>
              </a:ext>
            </a:extLst>
          </p:cNvPr>
          <p:cNvSpPr txBox="1"/>
          <p:nvPr/>
        </p:nvSpPr>
        <p:spPr>
          <a:xfrm>
            <a:off x="11146367" y="3344789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878A63CC-83CA-479E-8C30-9DCA5340C3FF}"/>
              </a:ext>
            </a:extLst>
          </p:cNvPr>
          <p:cNvSpPr/>
          <p:nvPr/>
        </p:nvSpPr>
        <p:spPr>
          <a:xfrm>
            <a:off x="11078232" y="332911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02525697-A37D-4AB6-9E6B-9B4E42FC4A7A}"/>
              </a:ext>
            </a:extLst>
          </p:cNvPr>
          <p:cNvSpPr/>
          <p:nvPr/>
        </p:nvSpPr>
        <p:spPr>
          <a:xfrm>
            <a:off x="11078232" y="343527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48" name="Connector: Elbow 247">
            <a:extLst>
              <a:ext uri="{FF2B5EF4-FFF2-40B4-BE49-F238E27FC236}">
                <a16:creationId xmlns:a16="http://schemas.microsoft.com/office/drawing/2014/main" id="{595AF130-FEB7-48BF-85C5-A8A4AE1F2849}"/>
              </a:ext>
            </a:extLst>
          </p:cNvPr>
          <p:cNvCxnSpPr>
            <a:cxnSpLocks/>
            <a:stCxn id="180" idx="3"/>
            <a:endCxn id="242" idx="1"/>
          </p:cNvCxnSpPr>
          <p:nvPr/>
        </p:nvCxnSpPr>
        <p:spPr>
          <a:xfrm flipV="1">
            <a:off x="10380913" y="2689948"/>
            <a:ext cx="697319" cy="3243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Connector: Elbow 250">
            <a:extLst>
              <a:ext uri="{FF2B5EF4-FFF2-40B4-BE49-F238E27FC236}">
                <a16:creationId xmlns:a16="http://schemas.microsoft.com/office/drawing/2014/main" id="{28A24D62-1739-4553-B403-938681720EDB}"/>
              </a:ext>
            </a:extLst>
          </p:cNvPr>
          <p:cNvCxnSpPr>
            <a:cxnSpLocks/>
            <a:stCxn id="176" idx="3"/>
            <a:endCxn id="239" idx="1"/>
          </p:cNvCxnSpPr>
          <p:nvPr/>
        </p:nvCxnSpPr>
        <p:spPr>
          <a:xfrm flipV="1">
            <a:off x="10380913" y="1896919"/>
            <a:ext cx="697319" cy="1846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Connector: Elbow 253">
            <a:extLst>
              <a:ext uri="{FF2B5EF4-FFF2-40B4-BE49-F238E27FC236}">
                <a16:creationId xmlns:a16="http://schemas.microsoft.com/office/drawing/2014/main" id="{0CC88691-1179-47BE-BF33-1CA1EBC2407F}"/>
              </a:ext>
            </a:extLst>
          </p:cNvPr>
          <p:cNvCxnSpPr>
            <a:cxnSpLocks/>
            <a:stCxn id="187" idx="2"/>
            <a:endCxn id="238" idx="1"/>
          </p:cNvCxnSpPr>
          <p:nvPr/>
        </p:nvCxnSpPr>
        <p:spPr>
          <a:xfrm>
            <a:off x="8147717" y="460955"/>
            <a:ext cx="2930515" cy="1329798"/>
          </a:xfrm>
          <a:prstGeom prst="bentConnector3">
            <a:avLst>
              <a:gd name="adj1" fmla="val 86114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Connector: Elbow 259">
            <a:extLst>
              <a:ext uri="{FF2B5EF4-FFF2-40B4-BE49-F238E27FC236}">
                <a16:creationId xmlns:a16="http://schemas.microsoft.com/office/drawing/2014/main" id="{A6F8306A-81C0-4582-A441-EB0492B494CC}"/>
              </a:ext>
            </a:extLst>
          </p:cNvPr>
          <p:cNvCxnSpPr>
            <a:cxnSpLocks/>
            <a:stCxn id="238" idx="1"/>
            <a:endCxn id="241" idx="1"/>
          </p:cNvCxnSpPr>
          <p:nvPr/>
        </p:nvCxnSpPr>
        <p:spPr>
          <a:xfrm rot="10800000" flipV="1">
            <a:off x="11078232" y="1790752"/>
            <a:ext cx="12700" cy="793029"/>
          </a:xfrm>
          <a:prstGeom prst="bentConnector3">
            <a:avLst>
              <a:gd name="adj1" fmla="val 330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Connector: Elbow 263">
            <a:extLst>
              <a:ext uri="{FF2B5EF4-FFF2-40B4-BE49-F238E27FC236}">
                <a16:creationId xmlns:a16="http://schemas.microsoft.com/office/drawing/2014/main" id="{BD6A7FB5-CF4F-4BE6-8F4C-D00008F99E48}"/>
              </a:ext>
            </a:extLst>
          </p:cNvPr>
          <p:cNvCxnSpPr>
            <a:cxnSpLocks/>
            <a:stCxn id="241" idx="1"/>
            <a:endCxn id="244" idx="1"/>
          </p:cNvCxnSpPr>
          <p:nvPr/>
        </p:nvCxnSpPr>
        <p:spPr>
          <a:xfrm rot="10800000" flipV="1">
            <a:off x="11078232" y="2583782"/>
            <a:ext cx="12700" cy="799334"/>
          </a:xfrm>
          <a:prstGeom prst="bentConnector3">
            <a:avLst>
              <a:gd name="adj1" fmla="val 330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Oval 267">
            <a:extLst>
              <a:ext uri="{FF2B5EF4-FFF2-40B4-BE49-F238E27FC236}">
                <a16:creationId xmlns:a16="http://schemas.microsoft.com/office/drawing/2014/main" id="{FC16A6AF-4A55-4B98-8632-869849A15328}"/>
              </a:ext>
            </a:extLst>
          </p:cNvPr>
          <p:cNvSpPr/>
          <p:nvPr/>
        </p:nvSpPr>
        <p:spPr>
          <a:xfrm>
            <a:off x="10642464" y="2549615"/>
            <a:ext cx="72000" cy="7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69" name="Oval 268">
            <a:extLst>
              <a:ext uri="{FF2B5EF4-FFF2-40B4-BE49-F238E27FC236}">
                <a16:creationId xmlns:a16="http://schemas.microsoft.com/office/drawing/2014/main" id="{0FA2F511-7EA3-44E5-8AF4-04415AA38110}"/>
              </a:ext>
            </a:extLst>
          </p:cNvPr>
          <p:cNvSpPr/>
          <p:nvPr/>
        </p:nvSpPr>
        <p:spPr>
          <a:xfrm>
            <a:off x="10637021" y="1752925"/>
            <a:ext cx="72000" cy="7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70" name="Connector: Elbow 269">
            <a:extLst>
              <a:ext uri="{FF2B5EF4-FFF2-40B4-BE49-F238E27FC236}">
                <a16:creationId xmlns:a16="http://schemas.microsoft.com/office/drawing/2014/main" id="{7B7923E8-3D5D-44D3-92AA-CA6FB9D0302A}"/>
              </a:ext>
            </a:extLst>
          </p:cNvPr>
          <p:cNvCxnSpPr>
            <a:cxnSpLocks/>
            <a:stCxn id="134" idx="0"/>
            <a:endCxn id="185" idx="2"/>
          </p:cNvCxnSpPr>
          <p:nvPr/>
        </p:nvCxnSpPr>
        <p:spPr>
          <a:xfrm rot="5400000" flipH="1" flipV="1">
            <a:off x="6905919" y="1800916"/>
            <a:ext cx="2296504" cy="187092"/>
          </a:xfrm>
          <a:prstGeom prst="bentConnector4">
            <a:avLst>
              <a:gd name="adj1" fmla="val 48824"/>
              <a:gd name="adj2" fmla="val 222186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Oval 272">
            <a:extLst>
              <a:ext uri="{FF2B5EF4-FFF2-40B4-BE49-F238E27FC236}">
                <a16:creationId xmlns:a16="http://schemas.microsoft.com/office/drawing/2014/main" id="{F2CB7FAE-A37A-4071-9532-1CD737C0FFF6}"/>
              </a:ext>
            </a:extLst>
          </p:cNvPr>
          <p:cNvSpPr/>
          <p:nvPr/>
        </p:nvSpPr>
        <p:spPr>
          <a:xfrm>
            <a:off x="7924625" y="2785093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74" name="Connector: Elbow 273">
            <a:extLst>
              <a:ext uri="{FF2B5EF4-FFF2-40B4-BE49-F238E27FC236}">
                <a16:creationId xmlns:a16="http://schemas.microsoft.com/office/drawing/2014/main" id="{3E8063B0-22F9-4FB6-B2B7-A97678CBBC92}"/>
              </a:ext>
            </a:extLst>
          </p:cNvPr>
          <p:cNvCxnSpPr>
            <a:cxnSpLocks/>
            <a:stCxn id="195" idx="0"/>
            <a:endCxn id="188" idx="2"/>
          </p:cNvCxnSpPr>
          <p:nvPr/>
        </p:nvCxnSpPr>
        <p:spPr>
          <a:xfrm rot="5400000" flipH="1" flipV="1">
            <a:off x="7084637" y="1595042"/>
            <a:ext cx="2056223" cy="69938"/>
          </a:xfrm>
          <a:prstGeom prst="bentConnector4">
            <a:avLst>
              <a:gd name="adj1" fmla="val 29334"/>
              <a:gd name="adj2" fmla="val 614503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Connector: Elbow 279">
            <a:extLst>
              <a:ext uri="{FF2B5EF4-FFF2-40B4-BE49-F238E27FC236}">
                <a16:creationId xmlns:a16="http://schemas.microsoft.com/office/drawing/2014/main" id="{451A5545-BEA0-4FAA-9393-DFACB33248EB}"/>
              </a:ext>
            </a:extLst>
          </p:cNvPr>
          <p:cNvCxnSpPr>
            <a:cxnSpLocks/>
            <a:stCxn id="190" idx="1"/>
            <a:endCxn id="186" idx="2"/>
          </p:cNvCxnSpPr>
          <p:nvPr/>
        </p:nvCxnSpPr>
        <p:spPr>
          <a:xfrm rot="10800000" flipH="1">
            <a:off x="7879595" y="884917"/>
            <a:ext cx="268122" cy="357739"/>
          </a:xfrm>
          <a:prstGeom prst="bentConnector5">
            <a:avLst>
              <a:gd name="adj1" fmla="val -85260"/>
              <a:gd name="adj2" fmla="val 55357"/>
              <a:gd name="adj3" fmla="val 150524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Connector: Elbow 283">
            <a:extLst>
              <a:ext uri="{FF2B5EF4-FFF2-40B4-BE49-F238E27FC236}">
                <a16:creationId xmlns:a16="http://schemas.microsoft.com/office/drawing/2014/main" id="{1D4C60F0-EB94-424A-9F40-292588BCE280}"/>
              </a:ext>
            </a:extLst>
          </p:cNvPr>
          <p:cNvCxnSpPr>
            <a:cxnSpLocks/>
            <a:stCxn id="190" idx="3"/>
          </p:cNvCxnSpPr>
          <p:nvPr/>
        </p:nvCxnSpPr>
        <p:spPr>
          <a:xfrm flipV="1">
            <a:off x="8311595" y="1239266"/>
            <a:ext cx="76199" cy="338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" name="Oval 286">
            <a:extLst>
              <a:ext uri="{FF2B5EF4-FFF2-40B4-BE49-F238E27FC236}">
                <a16:creationId xmlns:a16="http://schemas.microsoft.com/office/drawing/2014/main" id="{6A24DD39-9F89-43FD-A4C6-6A00CAF5E3B6}"/>
              </a:ext>
            </a:extLst>
          </p:cNvPr>
          <p:cNvSpPr/>
          <p:nvPr/>
        </p:nvSpPr>
        <p:spPr>
          <a:xfrm>
            <a:off x="8339825" y="1205718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2" name="Picture 2" descr="ESP8266 Pinout Reference: Which GPIO pins should you use? | Random Nerd  Tutorials">
            <a:extLst>
              <a:ext uri="{FF2B5EF4-FFF2-40B4-BE49-F238E27FC236}">
                <a16:creationId xmlns:a16="http://schemas.microsoft.com/office/drawing/2014/main" id="{1B4A8591-F03D-4C9D-A634-46C5318F8B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33" y="-1000403"/>
            <a:ext cx="4406267" cy="2230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BDE5B3-5782-43F5-8AF3-E981DE193307}"/>
              </a:ext>
            </a:extLst>
          </p:cNvPr>
          <p:cNvCxnSpPr/>
          <p:nvPr/>
        </p:nvCxnSpPr>
        <p:spPr>
          <a:xfrm flipV="1">
            <a:off x="8173809" y="5924105"/>
            <a:ext cx="137786" cy="608359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AD211D3B-2D2E-4980-84BF-C0824DECE32C}"/>
              </a:ext>
            </a:extLst>
          </p:cNvPr>
          <p:cNvCxnSpPr>
            <a:cxnSpLocks/>
          </p:cNvCxnSpPr>
          <p:nvPr/>
        </p:nvCxnSpPr>
        <p:spPr>
          <a:xfrm flipH="1" flipV="1">
            <a:off x="8238128" y="1741777"/>
            <a:ext cx="8360" cy="1100921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1DE61FA6-AD14-4647-97A3-F1453C28A723}"/>
              </a:ext>
            </a:extLst>
          </p:cNvPr>
          <p:cNvCxnSpPr>
            <a:cxnSpLocks/>
          </p:cNvCxnSpPr>
          <p:nvPr/>
        </p:nvCxnSpPr>
        <p:spPr>
          <a:xfrm flipV="1">
            <a:off x="4963895" y="2899236"/>
            <a:ext cx="4153" cy="760704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7552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81916E-4FAF-4DEB-826E-4CB7F9FF7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D Druck</a:t>
            </a:r>
            <a:endParaRPr lang="en-DE" dirty="0"/>
          </a:p>
        </p:txBody>
      </p:sp>
      <p:pic>
        <p:nvPicPr>
          <p:cNvPr id="5" name="Picture 4" descr="Diagram, engineering drawing&#10;&#10;Description automatically generated">
            <a:extLst>
              <a:ext uri="{FF2B5EF4-FFF2-40B4-BE49-F238E27FC236}">
                <a16:creationId xmlns:a16="http://schemas.microsoft.com/office/drawing/2014/main" id="{710ABD18-748F-4C5B-88AC-F841F3ECAB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375" y="943556"/>
            <a:ext cx="8999250" cy="5431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049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6BD53-52D3-BA46-9EE7-CD3FD8E13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C2F6F5-2925-C320-5DB3-02889A6E97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3318" name="Picture 6" descr="HiLetgo ESP-WROOM-32">
            <a:extLst>
              <a:ext uri="{FF2B5EF4-FFF2-40B4-BE49-F238E27FC236}">
                <a16:creationId xmlns:a16="http://schemas.microsoft.com/office/drawing/2014/main" id="{C3BA8751-B17C-97A4-F09F-D2BC26B31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571500"/>
            <a:ext cx="923925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18429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1535A-AA57-99A9-05DF-A7DF82E44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AutoShape 2" descr="Dfplayer Mini - Microsd Mp3 Musik Player Audio Voice Modul">
            <a:extLst>
              <a:ext uri="{FF2B5EF4-FFF2-40B4-BE49-F238E27FC236}">
                <a16:creationId xmlns:a16="http://schemas.microsoft.com/office/drawing/2014/main" id="{D83DBDCB-5280-22DF-0F02-AE78E31795AE}"/>
              </a:ext>
            </a:extLst>
          </p:cNvPr>
          <p:cNvSpPr>
            <a:spLocks noGrp="1" noChangeAspect="1" noChangeArrowheads="1"/>
          </p:cNvSpPr>
          <p:nvPr>
            <p:ph type="body" sz="quarter" idx="13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pic>
        <p:nvPicPr>
          <p:cNvPr id="14340" name="Picture 4" descr="DFPlayer Mini Mp3 Player - DFRobot Wiki">
            <a:extLst>
              <a:ext uri="{FF2B5EF4-FFF2-40B4-BE49-F238E27FC236}">
                <a16:creationId xmlns:a16="http://schemas.microsoft.com/office/drawing/2014/main" id="{C2194B05-38A9-5FA5-7D21-D94936462D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238" y="1624013"/>
            <a:ext cx="6105525" cy="3609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057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C0D2FE-8938-68E8-1A48-105E6E999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6020C9-530D-78E4-B534-DDFD89F41431}"/>
              </a:ext>
            </a:extLst>
          </p:cNvPr>
          <p:cNvSpPr/>
          <p:nvPr/>
        </p:nvSpPr>
        <p:spPr>
          <a:xfrm>
            <a:off x="5936776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Small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D4A3D5-7DF1-076C-023A-5D271E3FDFC3}"/>
              </a:ext>
            </a:extLst>
          </p:cNvPr>
          <p:cNvSpPr/>
          <p:nvPr/>
        </p:nvSpPr>
        <p:spPr>
          <a:xfrm>
            <a:off x="8695898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>
                <a:solidFill>
                  <a:schemeClr val="tx1"/>
                </a:solidFill>
              </a:rPr>
              <a:t>Locomotiv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98195A-9490-0083-989A-336720EDAB42}"/>
              </a:ext>
            </a:extLst>
          </p:cNvPr>
          <p:cNvSpPr/>
          <p:nvPr/>
        </p:nvSpPr>
        <p:spPr>
          <a:xfrm>
            <a:off x="3177654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Christmas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047D76-DF4B-121A-CA47-F2083F64AFCF}"/>
              </a:ext>
            </a:extLst>
          </p:cNvPr>
          <p:cNvSpPr/>
          <p:nvPr/>
        </p:nvSpPr>
        <p:spPr>
          <a:xfrm>
            <a:off x="8695898" y="4817660"/>
            <a:ext cx="1116842" cy="3684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oto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026AB8-4BE3-B296-51AF-C797B417ABFA}"/>
              </a:ext>
            </a:extLst>
          </p:cNvPr>
          <p:cNvSpPr/>
          <p:nvPr/>
        </p:nvSpPr>
        <p:spPr>
          <a:xfrm>
            <a:off x="6638355" y="3998793"/>
            <a:ext cx="1116842" cy="52088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Controll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225E0A-C27E-1F27-B0B5-7804A1D66727}"/>
              </a:ext>
            </a:extLst>
          </p:cNvPr>
          <p:cNvSpPr/>
          <p:nvPr/>
        </p:nvSpPr>
        <p:spPr>
          <a:xfrm>
            <a:off x="1239672" y="4118289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Powerban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3D738E-6EEF-A8D0-A5DB-2D1EA4FB1E61}"/>
              </a:ext>
            </a:extLst>
          </p:cNvPr>
          <p:cNvSpPr/>
          <p:nvPr/>
        </p:nvSpPr>
        <p:spPr>
          <a:xfrm>
            <a:off x="10338178" y="3317844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L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3F3BB4-A985-93EE-F850-90CEBCBD37FB}"/>
              </a:ext>
            </a:extLst>
          </p:cNvPr>
          <p:cNvSpPr/>
          <p:nvPr/>
        </p:nvSpPr>
        <p:spPr>
          <a:xfrm>
            <a:off x="10338178" y="3998793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/>
              <a:t>Distance</a:t>
            </a:r>
            <a:r>
              <a:rPr lang="de-DE" sz="1400" dirty="0"/>
              <a:t> Senso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489C34F-8234-2730-85B9-B369ADD901B0}"/>
              </a:ext>
            </a:extLst>
          </p:cNvPr>
          <p:cNvSpPr/>
          <p:nvPr/>
        </p:nvSpPr>
        <p:spPr>
          <a:xfrm>
            <a:off x="7898355" y="1321167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FC1810-B819-C43C-27AD-02046030CF0A}"/>
              </a:ext>
            </a:extLst>
          </p:cNvPr>
          <p:cNvSpPr/>
          <p:nvPr/>
        </p:nvSpPr>
        <p:spPr>
          <a:xfrm>
            <a:off x="7898355" y="1944180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M1, M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7747A6-FA72-536B-C4EB-62C956B4D9FD}"/>
              </a:ext>
            </a:extLst>
          </p:cNvPr>
          <p:cNvSpPr/>
          <p:nvPr/>
        </p:nvSpPr>
        <p:spPr>
          <a:xfrm>
            <a:off x="7898355" y="2543393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LE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74532E-4942-F74C-4D7A-D7B927D14F66}"/>
              </a:ext>
            </a:extLst>
          </p:cNvPr>
          <p:cNvSpPr/>
          <p:nvPr/>
        </p:nvSpPr>
        <p:spPr>
          <a:xfrm>
            <a:off x="6638355" y="4603661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Scann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BE7C254-7A55-CBBB-A6F7-B802D2763D02}"/>
              </a:ext>
            </a:extLst>
          </p:cNvPr>
          <p:cNvSpPr/>
          <p:nvPr/>
        </p:nvSpPr>
        <p:spPr>
          <a:xfrm>
            <a:off x="7898355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A386728-5A44-5D8F-AE60-4B6FBB516C8A}"/>
              </a:ext>
            </a:extLst>
          </p:cNvPr>
          <p:cNvSpPr/>
          <p:nvPr/>
        </p:nvSpPr>
        <p:spPr>
          <a:xfrm>
            <a:off x="7898355" y="719613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0D6BBC-B7CE-B30B-01B5-576139FBF576}"/>
              </a:ext>
            </a:extLst>
          </p:cNvPr>
          <p:cNvSpPr/>
          <p:nvPr/>
        </p:nvSpPr>
        <p:spPr>
          <a:xfrm>
            <a:off x="5186531" y="25474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x L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972261-F9BF-F419-4009-B654AE181899}"/>
              </a:ext>
            </a:extLst>
          </p:cNvPr>
          <p:cNvSpPr/>
          <p:nvPr/>
        </p:nvSpPr>
        <p:spPr>
          <a:xfrm>
            <a:off x="5186531" y="1945145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</a:t>
            </a:r>
            <a:r>
              <a:rPr lang="de-DE" sz="1400" dirty="0" err="1">
                <a:solidFill>
                  <a:schemeClr val="tx1"/>
                </a:solidFill>
              </a:rPr>
              <a:t>Bt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EA17678-CB51-9C1A-ED3C-E4F7CAFE4289}"/>
              </a:ext>
            </a:extLst>
          </p:cNvPr>
          <p:cNvSpPr/>
          <p:nvPr/>
        </p:nvSpPr>
        <p:spPr>
          <a:xfrm>
            <a:off x="5178329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DD97EC0-F72C-DF11-78F6-E7C7A3692784}"/>
              </a:ext>
            </a:extLst>
          </p:cNvPr>
          <p:cNvSpPr/>
          <p:nvPr/>
        </p:nvSpPr>
        <p:spPr>
          <a:xfrm>
            <a:off x="6653565" y="3118250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Sound Modu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8102C2-7AF5-E4CD-2C77-A199B930DCD7}"/>
              </a:ext>
            </a:extLst>
          </p:cNvPr>
          <p:cNvSpPr/>
          <p:nvPr/>
        </p:nvSpPr>
        <p:spPr>
          <a:xfrm>
            <a:off x="529706" y="3578289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Shots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C76664-731A-957C-2A9F-A0E6BE1DFC8E}"/>
              </a:ext>
            </a:extLst>
          </p:cNvPr>
          <p:cNvSpPr/>
          <p:nvPr/>
        </p:nvSpPr>
        <p:spPr>
          <a:xfrm>
            <a:off x="1239672" y="2934629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Cap Senso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9C037AB-DCE8-6762-A8DF-8EFEA2E25395}"/>
              </a:ext>
            </a:extLst>
          </p:cNvPr>
          <p:cNvSpPr/>
          <p:nvPr/>
        </p:nvSpPr>
        <p:spPr>
          <a:xfrm>
            <a:off x="5186531" y="1293094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5441125-CA81-38CD-872E-CE7D572AF351}"/>
              </a:ext>
            </a:extLst>
          </p:cNvPr>
          <p:cNvSpPr/>
          <p:nvPr/>
        </p:nvSpPr>
        <p:spPr>
          <a:xfrm>
            <a:off x="5186531" y="719614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9FF17D-E997-B2CD-78F9-95BA61E1B54B}"/>
              </a:ext>
            </a:extLst>
          </p:cNvPr>
          <p:cNvSpPr/>
          <p:nvPr/>
        </p:nvSpPr>
        <p:spPr>
          <a:xfrm>
            <a:off x="2489050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63DA2BC-CBBE-4FAC-C08F-30780ED1EF3F}"/>
              </a:ext>
            </a:extLst>
          </p:cNvPr>
          <p:cNvSpPr/>
          <p:nvPr/>
        </p:nvSpPr>
        <p:spPr>
          <a:xfrm>
            <a:off x="2489050" y="719612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608237C-671E-52D2-E23B-C26BED644CD1}"/>
              </a:ext>
            </a:extLst>
          </p:cNvPr>
          <p:cNvSpPr txBox="1"/>
          <p:nvPr/>
        </p:nvSpPr>
        <p:spPr>
          <a:xfrm>
            <a:off x="9217456" y="1372736"/>
            <a:ext cx="595284" cy="2185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 dirty="0">
                <a:solidFill>
                  <a:schemeClr val="bg2"/>
                </a:solidFill>
              </a:rPr>
              <a:t>10 Pi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D3B3F3-6BE6-DF89-3CEE-D33F3F0E8714}"/>
              </a:ext>
            </a:extLst>
          </p:cNvPr>
          <p:cNvSpPr/>
          <p:nvPr/>
        </p:nvSpPr>
        <p:spPr>
          <a:xfrm>
            <a:off x="2489050" y="1968207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</a:t>
            </a:r>
            <a:r>
              <a:rPr lang="de-DE" sz="1400" dirty="0" err="1">
                <a:solidFill>
                  <a:schemeClr val="tx1"/>
                </a:solidFill>
              </a:rPr>
              <a:t>Bt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DD08C22-84C3-04C5-FD1E-A03B8CE106F5}"/>
              </a:ext>
            </a:extLst>
          </p:cNvPr>
          <p:cNvSpPr/>
          <p:nvPr/>
        </p:nvSpPr>
        <p:spPr>
          <a:xfrm>
            <a:off x="2489050" y="1316156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B67DF5E-0653-8CF8-DAE8-49162F2C6535}"/>
              </a:ext>
            </a:extLst>
          </p:cNvPr>
          <p:cNvSpPr/>
          <p:nvPr/>
        </p:nvSpPr>
        <p:spPr>
          <a:xfrm>
            <a:off x="9015197" y="3889329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otor Driver</a:t>
            </a:r>
          </a:p>
        </p:txBody>
      </p:sp>
    </p:spTree>
    <p:extLst>
      <p:ext uri="{BB962C8B-B14F-4D97-AF65-F5344CB8AC3E}">
        <p14:creationId xmlns:p14="http://schemas.microsoft.com/office/powerpoint/2010/main" val="3738479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D61A94-D0C4-95E0-BB23-C6C63F228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6" name="Picture 2" descr="Interfacing DRV8833 Dual Motor Driver Module with Arduino">
            <a:extLst>
              <a:ext uri="{FF2B5EF4-FFF2-40B4-BE49-F238E27FC236}">
                <a16:creationId xmlns:a16="http://schemas.microsoft.com/office/drawing/2014/main" id="{1DB9825E-6EB4-32E4-C0E3-2B8119B5C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548" y="0"/>
            <a:ext cx="4488516" cy="2477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675B4025-FFA0-6EF2-744C-4ADBE9327B59}"/>
              </a:ext>
            </a:extLst>
          </p:cNvPr>
          <p:cNvCxnSpPr>
            <a:cxnSpLocks/>
            <a:stCxn id="31" idx="1"/>
            <a:endCxn id="10" idx="1"/>
          </p:cNvCxnSpPr>
          <p:nvPr/>
        </p:nvCxnSpPr>
        <p:spPr>
          <a:xfrm rot="10800000" flipV="1">
            <a:off x="6333564" y="1676942"/>
            <a:ext cx="911758" cy="1630660"/>
          </a:xfrm>
          <a:prstGeom prst="bentConnector3">
            <a:avLst>
              <a:gd name="adj1" fmla="val 177336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85D11754-91B3-9D3C-7C17-2BAC60E20A8D}"/>
              </a:ext>
            </a:extLst>
          </p:cNvPr>
          <p:cNvSpPr/>
          <p:nvPr/>
        </p:nvSpPr>
        <p:spPr>
          <a:xfrm>
            <a:off x="6333565" y="661200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BC5DCA-8FA7-8462-4112-02463770DD85}"/>
              </a:ext>
            </a:extLst>
          </p:cNvPr>
          <p:cNvSpPr/>
          <p:nvPr/>
        </p:nvSpPr>
        <p:spPr>
          <a:xfrm>
            <a:off x="6333564" y="3224705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C24E91-089F-4A72-FEC3-C4FAB931FB05}"/>
              </a:ext>
            </a:extLst>
          </p:cNvPr>
          <p:cNvSpPr/>
          <p:nvPr/>
        </p:nvSpPr>
        <p:spPr>
          <a:xfrm>
            <a:off x="6333562" y="3428970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394106-2502-3359-CCEF-79736B3313BE}"/>
              </a:ext>
            </a:extLst>
          </p:cNvPr>
          <p:cNvSpPr/>
          <p:nvPr/>
        </p:nvSpPr>
        <p:spPr>
          <a:xfrm>
            <a:off x="6333562" y="3631006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EEF728-2103-4D65-344D-D82313BEFB4A}"/>
              </a:ext>
            </a:extLst>
          </p:cNvPr>
          <p:cNvSpPr/>
          <p:nvPr/>
        </p:nvSpPr>
        <p:spPr>
          <a:xfrm>
            <a:off x="6333561" y="6481261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5CB4DB1D-0C14-40FD-10B0-FBA3FF6007E4}"/>
              </a:ext>
            </a:extLst>
          </p:cNvPr>
          <p:cNvCxnSpPr>
            <a:cxnSpLocks/>
            <a:stCxn id="26" idx="1"/>
            <a:endCxn id="11" idx="1"/>
          </p:cNvCxnSpPr>
          <p:nvPr/>
        </p:nvCxnSpPr>
        <p:spPr>
          <a:xfrm rot="10800000" flipV="1">
            <a:off x="6333563" y="1503341"/>
            <a:ext cx="910201" cy="2008526"/>
          </a:xfrm>
          <a:prstGeom prst="bentConnector3">
            <a:avLst>
              <a:gd name="adj1" fmla="val 146339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F55655D7-3BD5-FC8B-F697-B5D72EDF39A1}"/>
              </a:ext>
            </a:extLst>
          </p:cNvPr>
          <p:cNvSpPr/>
          <p:nvPr/>
        </p:nvSpPr>
        <p:spPr>
          <a:xfrm>
            <a:off x="7243763" y="1420444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4F28DA06-0747-86CC-EB5D-2BB72EBD29C9}"/>
              </a:ext>
            </a:extLst>
          </p:cNvPr>
          <p:cNvCxnSpPr>
            <a:cxnSpLocks/>
            <a:stCxn id="9" idx="1"/>
            <a:endCxn id="12" idx="1"/>
          </p:cNvCxnSpPr>
          <p:nvPr/>
        </p:nvCxnSpPr>
        <p:spPr>
          <a:xfrm rot="10800000" flipV="1">
            <a:off x="6333563" y="744097"/>
            <a:ext cx="3" cy="2969806"/>
          </a:xfrm>
          <a:prstGeom prst="bentConnector3">
            <a:avLst>
              <a:gd name="adj1" fmla="val 7620100000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024B0E6E-9A24-64FA-AD65-6DA3160E554D}"/>
              </a:ext>
            </a:extLst>
          </p:cNvPr>
          <p:cNvSpPr/>
          <p:nvPr/>
        </p:nvSpPr>
        <p:spPr>
          <a:xfrm>
            <a:off x="7245322" y="1594045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2A2E89E-801C-B490-C9B7-84029D029029}"/>
              </a:ext>
            </a:extLst>
          </p:cNvPr>
          <p:cNvSpPr txBox="1"/>
          <p:nvPr/>
        </p:nvSpPr>
        <p:spPr>
          <a:xfrm>
            <a:off x="2804154" y="2630149"/>
            <a:ext cx="25156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b="1" dirty="0">
                <a:solidFill>
                  <a:srgbClr val="FF0000"/>
                </a:solidFill>
              </a:rPr>
              <a:t>34-29 </a:t>
            </a:r>
            <a:r>
              <a:rPr lang="de-DE" sz="1400" b="1" dirty="0" err="1">
                <a:solidFill>
                  <a:srgbClr val="FF0000"/>
                </a:solidFill>
              </a:rPr>
              <a:t>are</a:t>
            </a:r>
            <a:r>
              <a:rPr lang="de-DE" sz="1400" b="1" dirty="0">
                <a:solidFill>
                  <a:srgbClr val="FF0000"/>
                </a:solidFill>
              </a:rPr>
              <a:t> </a:t>
            </a:r>
            <a:r>
              <a:rPr lang="de-DE" sz="1400" b="1" dirty="0" err="1">
                <a:solidFill>
                  <a:srgbClr val="FF0000"/>
                </a:solidFill>
              </a:rPr>
              <a:t>input</a:t>
            </a:r>
            <a:r>
              <a:rPr lang="de-DE" sz="1400" b="1" dirty="0">
                <a:solidFill>
                  <a:srgbClr val="FF0000"/>
                </a:solidFill>
              </a:rPr>
              <a:t> </a:t>
            </a:r>
            <a:r>
              <a:rPr lang="de-DE" sz="1400" b="1" dirty="0" err="1">
                <a:solidFill>
                  <a:srgbClr val="FF0000"/>
                </a:solidFill>
              </a:rPr>
              <a:t>only</a:t>
            </a:r>
            <a:endParaRPr lang="de-DE" sz="1400" b="1" dirty="0">
              <a:solidFill>
                <a:srgbClr val="FF0000"/>
              </a:solidFill>
            </a:endParaRPr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79467DB3-77F4-0810-0140-3D99B8AEA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5059" y="1918597"/>
            <a:ext cx="8801704" cy="5444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27694EA-98CB-C5F1-F8AC-1BA737957912}"/>
              </a:ext>
            </a:extLst>
          </p:cNvPr>
          <p:cNvSpPr/>
          <p:nvPr/>
        </p:nvSpPr>
        <p:spPr>
          <a:xfrm>
            <a:off x="3709031" y="5821185"/>
            <a:ext cx="2243467" cy="5823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de-DE" sz="1400" dirty="0"/>
              <a:t>v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4485FF2-E1CC-A1C1-2E5B-3E31A1B35A08}"/>
              </a:ext>
            </a:extLst>
          </p:cNvPr>
          <p:cNvSpPr/>
          <p:nvPr/>
        </p:nvSpPr>
        <p:spPr>
          <a:xfrm>
            <a:off x="3852533" y="5058298"/>
            <a:ext cx="2243467" cy="2154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de-DE" sz="1400" dirty="0"/>
              <a:t>v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5B90BA0-737B-4253-B478-773C7D478852}"/>
              </a:ext>
            </a:extLst>
          </p:cNvPr>
          <p:cNvSpPr/>
          <p:nvPr/>
        </p:nvSpPr>
        <p:spPr>
          <a:xfrm>
            <a:off x="1818523" y="4584463"/>
            <a:ext cx="2243467" cy="4832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PWM at </a:t>
            </a:r>
            <a:r>
              <a:rPr lang="de-DE" sz="1400" dirty="0" err="1"/>
              <a:t>boot</a:t>
            </a:r>
            <a:endParaRPr lang="de-DE" sz="1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A961B30-9EE4-EB29-03F3-E0B3CCF8309F}"/>
              </a:ext>
            </a:extLst>
          </p:cNvPr>
          <p:cNvSpPr/>
          <p:nvPr/>
        </p:nvSpPr>
        <p:spPr>
          <a:xfrm>
            <a:off x="1818523" y="2756874"/>
            <a:ext cx="2243467" cy="9356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In </a:t>
            </a:r>
            <a:r>
              <a:rPr lang="de-DE" sz="1400" dirty="0" err="1"/>
              <a:t>Only</a:t>
            </a:r>
            <a:endParaRPr lang="de-DE" sz="1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D5B64D-C4A0-14FB-2052-42A4C446EBB7}"/>
              </a:ext>
            </a:extLst>
          </p:cNvPr>
          <p:cNvSpPr/>
          <p:nvPr/>
        </p:nvSpPr>
        <p:spPr>
          <a:xfrm>
            <a:off x="1757561" y="3648802"/>
            <a:ext cx="2243467" cy="93566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OK</a:t>
            </a:r>
          </a:p>
        </p:txBody>
      </p:sp>
    </p:spTree>
    <p:extLst>
      <p:ext uri="{BB962C8B-B14F-4D97-AF65-F5344CB8AC3E}">
        <p14:creationId xmlns:p14="http://schemas.microsoft.com/office/powerpoint/2010/main" val="3437032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38B91090-F730-6429-AC77-6AEE19671D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66700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E7563F9F-F97A-05A2-DBCC-D168B7B3D6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F7A4AF17-865B-D4DF-3D3E-D5BAD7B799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BAC3796-7EA7-A720-334C-417FCEE30446}"/>
              </a:ext>
            </a:extLst>
          </p:cNvPr>
          <p:cNvCxnSpPr/>
          <p:nvPr/>
        </p:nvCxnSpPr>
        <p:spPr>
          <a:xfrm>
            <a:off x="3324225" y="1514475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973B31F-62DA-FBF9-5798-5357B0103687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E72E89F1-DE3E-DF08-C531-06E33C3A207B}"/>
              </a:ext>
            </a:extLst>
          </p:cNvPr>
          <p:cNvSpPr/>
          <p:nvPr/>
        </p:nvSpPr>
        <p:spPr>
          <a:xfrm>
            <a:off x="3345531" y="2155825"/>
            <a:ext cx="819244" cy="306705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8E1B3BC-B84A-487C-2416-D2E1290FF478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D7AA7B9-2305-4DB6-1AD0-362FB942274A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5DCE3E-B512-0911-D64E-DC963A4F7C8B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3152CC-AC8E-8578-E0A3-EBBD23C4EC1C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65DED4A-26DB-4CA2-8A00-0B44A0975413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D5CF2C5-A8A7-6044-330A-4D952ECE69C5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B75D0647-E9F8-6A05-52E5-6F4C181F9F27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436D166-A256-9792-0029-DB2C8D8039BF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91E7A4A-0C47-3F95-D04F-8306EC8D95E3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E4657F3-59ED-710B-6C65-26C6B4123D96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D3739A8-6735-04AB-D5BE-38E29C9260CE}"/>
              </a:ext>
            </a:extLst>
          </p:cNvPr>
          <p:cNvGrpSpPr/>
          <p:nvPr/>
        </p:nvGrpSpPr>
        <p:grpSpPr>
          <a:xfrm>
            <a:off x="3345531" y="2202616"/>
            <a:ext cx="763723" cy="180754"/>
            <a:chOff x="3563025" y="2201148"/>
            <a:chExt cx="763723" cy="18075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A4E6725-765B-96E7-4425-6C7F25A3904E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B6190EE-E9D9-F693-BBFD-4E2C85BAEB7F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72060B-362D-6F44-5ED9-1F043BA8AC99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4CC3569-7952-7F68-EA3E-5A844134158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99F1B54-0AAE-C650-09EF-D196DD25DE2A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43B2CF6D-B9C3-AF21-65B8-7EDEE204573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AFA8B74-FF28-414D-E05D-57AFA96CF8EB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1BF3C83-FF82-878B-211F-88DCFFF48B14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FF14F6D2-3211-2FF3-805B-02216D1FF3F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C41DDC22-07A0-A55C-BE12-E26E3AADCA32}"/>
              </a:ext>
            </a:extLst>
          </p:cNvPr>
          <p:cNvSpPr txBox="1"/>
          <p:nvPr/>
        </p:nvSpPr>
        <p:spPr>
          <a:xfrm rot="16200000">
            <a:off x="3595103" y="2129636"/>
            <a:ext cx="307976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GND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VCC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B8192C7-671A-12AB-97BE-1AFA51162F32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371556F-5419-FF68-A148-F1684B6D8705}"/>
              </a:ext>
            </a:extLst>
          </p:cNvPr>
          <p:cNvGrpSpPr/>
          <p:nvPr/>
        </p:nvGrpSpPr>
        <p:grpSpPr>
          <a:xfrm rot="10800000">
            <a:off x="4325653" y="3785642"/>
            <a:ext cx="568511" cy="180754"/>
            <a:chOff x="3563025" y="2201148"/>
            <a:chExt cx="568511" cy="18075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19256F8-97A7-20B9-D492-2CDDA5D69A04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43E542C-9184-D64C-5B3D-DA4BF39AB90A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B2DFB6-C3CD-BDE7-70C3-62CE3D59F581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7AE47DF-F4DA-1800-7386-DBC762AE23DA}"/>
                </a:ext>
              </a:extLst>
            </p:cNvPr>
            <p:cNvGrpSpPr/>
            <p:nvPr/>
          </p:nvGrpSpPr>
          <p:grpSpPr>
            <a:xfrm>
              <a:off x="3612386" y="2255902"/>
              <a:ext cx="462300" cy="72000"/>
              <a:chOff x="3612386" y="2255902"/>
              <a:chExt cx="462300" cy="7200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AFAC5F3D-2D0B-47B9-D832-D6B1B5E1E8D9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AD3D8E47-F322-57C3-2543-E804C4E73BB7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AD36A598-7C77-9AD7-92DE-13E52B5C691D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4EFD9F7-BF2C-479C-AE62-17DC73E93C75}"/>
              </a:ext>
            </a:extLst>
          </p:cNvPr>
          <p:cNvGrpSpPr/>
          <p:nvPr/>
        </p:nvGrpSpPr>
        <p:grpSpPr>
          <a:xfrm>
            <a:off x="4324417" y="3000964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0E65A85-A9E4-1629-D8A4-235BFC1E987C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C5D3898-5AC5-9D50-DE41-F7EBA5BB6EE0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E67AEB6-DAD0-46EB-016C-953B8A4C4442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2BA937B-1859-3EF0-C301-7E57132857FF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68A34C8-6AEA-2048-F9A3-DE7E9EFB7C1E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FD942769-47C7-19B4-3C8C-1B211460B8F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CEFC531A-A8A2-DB67-5637-CBACD444207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59B63754-D51B-9A09-F2A7-9FEF0F608E70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5035C39-CED8-83C8-A3DA-DDF95F08C8CE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7367BCA0-D8D4-1CA0-B396-21407806CA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B7F0CB44-35CE-366A-D4CB-5E5575129DD6}"/>
              </a:ext>
            </a:extLst>
          </p:cNvPr>
          <p:cNvSpPr txBox="1"/>
          <p:nvPr/>
        </p:nvSpPr>
        <p:spPr>
          <a:xfrm rot="16200000">
            <a:off x="4416119" y="2888583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912275B6-3E85-59C4-6095-E01AEF8FB4A0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7CE7E800-5203-ACE0-60EB-A220F1B5BBBA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D9241F75-2E76-DAF3-0F9D-7A754CC2A1C3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C93EB9E4-AD2A-954D-E2FA-982D6AD556D3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D684337F-7D8D-4C78-EA91-DB0F695473FD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CE97F6DB-2568-671E-220A-3194ED9E12AC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A0412251-57CF-AB45-320B-4561D3549322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54064BC7-45BC-E569-8C2D-20B1C21417AD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0BE0DF51-3C5B-F531-E249-E82C2887A379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D878DC87-C9AF-03FF-553E-91861B159672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3272FDCE-A722-05C0-4DF7-0F4E0834DE09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BE02EFDC-9968-8FD4-5E05-EF9940A72257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73577D34-4178-99E9-19E2-462EFF30642F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84614F9C-D1D7-299B-AF0B-66D1E715D5D5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CCC5E001-C494-4746-89D6-C431169BAD56}"/>
              </a:ext>
            </a:extLst>
          </p:cNvPr>
          <p:cNvCxnSpPr>
            <a:cxnSpLocks/>
          </p:cNvCxnSpPr>
          <p:nvPr/>
        </p:nvCxnSpPr>
        <p:spPr>
          <a:xfrm flipH="1">
            <a:off x="4991107" y="2876634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9BB1AFB2-EAD4-3E56-776C-AF8FC63B78A4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56807906-60D6-3C19-512F-540D1F2B16B5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E58F6E4C-3247-0908-EC95-591274968F6B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B8F9347A-0F34-638C-982B-88A8C8C4D9B7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D5C2618F-A279-A777-FF35-ACB8596E995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065EFA8F-9EBF-59BA-0019-501C71F12164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E1238188-43A5-A98D-039C-777279018ECF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0C957B10-D175-686E-4E9E-9C24D733B1F2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96" name="Straight Connector 2095">
            <a:extLst>
              <a:ext uri="{FF2B5EF4-FFF2-40B4-BE49-F238E27FC236}">
                <a16:creationId xmlns:a16="http://schemas.microsoft.com/office/drawing/2014/main" id="{AEE5C106-EF17-5439-93CC-B235CE76C64C}"/>
              </a:ext>
            </a:extLst>
          </p:cNvPr>
          <p:cNvCxnSpPr>
            <a:cxnSpLocks/>
          </p:cNvCxnSpPr>
          <p:nvPr/>
        </p:nvCxnSpPr>
        <p:spPr>
          <a:xfrm flipH="1" flipV="1">
            <a:off x="4060697" y="2883227"/>
            <a:ext cx="787254" cy="599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8" name="Straight Connector 2097">
            <a:extLst>
              <a:ext uri="{FF2B5EF4-FFF2-40B4-BE49-F238E27FC236}">
                <a16:creationId xmlns:a16="http://schemas.microsoft.com/office/drawing/2014/main" id="{951CC4E8-28AC-6564-70AA-2A6FFE572CCD}"/>
              </a:ext>
            </a:extLst>
          </p:cNvPr>
          <p:cNvCxnSpPr>
            <a:cxnSpLocks/>
          </p:cNvCxnSpPr>
          <p:nvPr/>
        </p:nvCxnSpPr>
        <p:spPr>
          <a:xfrm flipH="1" flipV="1">
            <a:off x="3852705" y="2683527"/>
            <a:ext cx="802832" cy="14749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4" name="Straight Connector 2103">
            <a:extLst>
              <a:ext uri="{FF2B5EF4-FFF2-40B4-BE49-F238E27FC236}">
                <a16:creationId xmlns:a16="http://schemas.microsoft.com/office/drawing/2014/main" id="{859F8D17-A187-165D-5B1C-469E195C8D6D}"/>
              </a:ext>
            </a:extLst>
          </p:cNvPr>
          <p:cNvCxnSpPr>
            <a:cxnSpLocks/>
          </p:cNvCxnSpPr>
          <p:nvPr/>
        </p:nvCxnSpPr>
        <p:spPr>
          <a:xfrm>
            <a:off x="4428052" y="4465078"/>
            <a:ext cx="76365" cy="76484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6" name="Straight Connector 2105">
            <a:extLst>
              <a:ext uri="{FF2B5EF4-FFF2-40B4-BE49-F238E27FC236}">
                <a16:creationId xmlns:a16="http://schemas.microsoft.com/office/drawing/2014/main" id="{72608580-DF29-74D5-AEA1-D0D964E7D91A}"/>
              </a:ext>
            </a:extLst>
          </p:cNvPr>
          <p:cNvCxnSpPr>
            <a:cxnSpLocks/>
          </p:cNvCxnSpPr>
          <p:nvPr/>
        </p:nvCxnSpPr>
        <p:spPr>
          <a:xfrm>
            <a:off x="3662042" y="3055718"/>
            <a:ext cx="68402" cy="217420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9" name="Straight Connector 2108">
            <a:extLst>
              <a:ext uri="{FF2B5EF4-FFF2-40B4-BE49-F238E27FC236}">
                <a16:creationId xmlns:a16="http://schemas.microsoft.com/office/drawing/2014/main" id="{E9DFAEA0-7BD0-4968-5230-59C137E03ED9}"/>
              </a:ext>
            </a:extLst>
          </p:cNvPr>
          <p:cNvCxnSpPr>
            <a:cxnSpLocks/>
          </p:cNvCxnSpPr>
          <p:nvPr/>
        </p:nvCxnSpPr>
        <p:spPr>
          <a:xfrm>
            <a:off x="3456630" y="3090964"/>
            <a:ext cx="55352" cy="194593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C8B0D7CE-FB95-5416-F77A-574A2D8AB288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55C15780-C646-E753-8728-8A910A584D28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87521D3-B567-17A8-AE58-89A84733E9DC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A0D9FE08-638E-A84C-DEC2-1F4F7D3A8AA8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A7208FF8-25CE-FF95-7FD2-60F8B555F344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3339692A-79C7-FA70-10D4-6E689FB73FD3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9E243B49-B5B8-3D53-9391-7E25DFFF5FCD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6800161B-3C29-D2CC-C652-996A12AF1A87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FD4FAF56-12B6-2C0A-3B3A-D3B2EC48CA9C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B8D9E695-2912-13E8-7889-3406CD5E2BA2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95633BF5-1D02-D96E-757E-450D16056520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EE8D1037-4BBA-FFD9-A61C-220E7776332B}"/>
              </a:ext>
            </a:extLst>
          </p:cNvPr>
          <p:cNvCxnSpPr>
            <a:cxnSpLocks/>
          </p:cNvCxnSpPr>
          <p:nvPr/>
        </p:nvCxnSpPr>
        <p:spPr>
          <a:xfrm flipH="1" flipV="1">
            <a:off x="5209226" y="3689350"/>
            <a:ext cx="1413831" cy="913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0" name="Straight Connector 2129">
            <a:extLst>
              <a:ext uri="{FF2B5EF4-FFF2-40B4-BE49-F238E27FC236}">
                <a16:creationId xmlns:a16="http://schemas.microsoft.com/office/drawing/2014/main" id="{46F51143-0D3C-3104-FF33-272F9FD37C35}"/>
              </a:ext>
            </a:extLst>
          </p:cNvPr>
          <p:cNvCxnSpPr>
            <a:cxnSpLocks/>
          </p:cNvCxnSpPr>
          <p:nvPr/>
        </p:nvCxnSpPr>
        <p:spPr>
          <a:xfrm flipH="1">
            <a:off x="4714499" y="4448665"/>
            <a:ext cx="88429" cy="62069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B7FFDCBA-1BE4-3E25-C06A-B234B86A57C5}"/>
              </a:ext>
            </a:extLst>
          </p:cNvPr>
          <p:cNvCxnSpPr>
            <a:cxnSpLocks/>
          </p:cNvCxnSpPr>
          <p:nvPr/>
        </p:nvCxnSpPr>
        <p:spPr>
          <a:xfrm>
            <a:off x="4991107" y="3871647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38" name="Group 2137">
            <a:extLst>
              <a:ext uri="{FF2B5EF4-FFF2-40B4-BE49-F238E27FC236}">
                <a16:creationId xmlns:a16="http://schemas.microsoft.com/office/drawing/2014/main" id="{A713250C-EB1B-EB43-71CB-85151AC58E41}"/>
              </a:ext>
            </a:extLst>
          </p:cNvPr>
          <p:cNvGrpSpPr/>
          <p:nvPr/>
        </p:nvGrpSpPr>
        <p:grpSpPr>
          <a:xfrm>
            <a:off x="4713884" y="4157288"/>
            <a:ext cx="568511" cy="180754"/>
            <a:chOff x="3563025" y="2201148"/>
            <a:chExt cx="568511" cy="180754"/>
          </a:xfrm>
        </p:grpSpPr>
        <p:sp>
          <p:nvSpPr>
            <p:cNvPr id="2139" name="Rectangle 2138">
              <a:extLst>
                <a:ext uri="{FF2B5EF4-FFF2-40B4-BE49-F238E27FC236}">
                  <a16:creationId xmlns:a16="http://schemas.microsoft.com/office/drawing/2014/main" id="{2AD9E10B-DA0C-EECD-E13B-C39AF5912B3C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0" name="Rectangle 2139">
              <a:extLst>
                <a:ext uri="{FF2B5EF4-FFF2-40B4-BE49-F238E27FC236}">
                  <a16:creationId xmlns:a16="http://schemas.microsoft.com/office/drawing/2014/main" id="{65CB9C60-8AE0-851B-702B-5FE829EEEFC4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1" name="Rectangle 2140">
              <a:extLst>
                <a:ext uri="{FF2B5EF4-FFF2-40B4-BE49-F238E27FC236}">
                  <a16:creationId xmlns:a16="http://schemas.microsoft.com/office/drawing/2014/main" id="{F6601568-687E-8C3F-670F-02CED37F3ED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42" name="Group 2141">
              <a:extLst>
                <a:ext uri="{FF2B5EF4-FFF2-40B4-BE49-F238E27FC236}">
                  <a16:creationId xmlns:a16="http://schemas.microsoft.com/office/drawing/2014/main" id="{3EE5C3A6-BEC7-C4CC-00B0-5FF83873F80F}"/>
                </a:ext>
              </a:extLst>
            </p:cNvPr>
            <p:cNvGrpSpPr/>
            <p:nvPr/>
          </p:nvGrpSpPr>
          <p:grpSpPr>
            <a:xfrm>
              <a:off x="3612386" y="2255902"/>
              <a:ext cx="462300" cy="72000"/>
              <a:chOff x="3612386" y="2255902"/>
              <a:chExt cx="462300" cy="72000"/>
            </a:xfrm>
          </p:grpSpPr>
          <p:sp>
            <p:nvSpPr>
              <p:cNvPr id="2143" name="Rectangle 2142">
                <a:extLst>
                  <a:ext uri="{FF2B5EF4-FFF2-40B4-BE49-F238E27FC236}">
                    <a16:creationId xmlns:a16="http://schemas.microsoft.com/office/drawing/2014/main" id="{8B71310B-3377-CC20-64D0-E1E5BF7B19FC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44" name="Rectangle 2143">
                <a:extLst>
                  <a:ext uri="{FF2B5EF4-FFF2-40B4-BE49-F238E27FC236}">
                    <a16:creationId xmlns:a16="http://schemas.microsoft.com/office/drawing/2014/main" id="{7879D1F5-09B0-992C-D234-0EC54A6D34F6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45" name="Rectangle 2144">
                <a:extLst>
                  <a:ext uri="{FF2B5EF4-FFF2-40B4-BE49-F238E27FC236}">
                    <a16:creationId xmlns:a16="http://schemas.microsoft.com/office/drawing/2014/main" id="{B31813D3-CD97-7928-5678-14A8AF6820F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5834252-5EC0-8F8C-57F0-74CEFBCE5C75}"/>
              </a:ext>
            </a:extLst>
          </p:cNvPr>
          <p:cNvCxnSpPr>
            <a:cxnSpLocks/>
          </p:cNvCxnSpPr>
          <p:nvPr/>
        </p:nvCxnSpPr>
        <p:spPr>
          <a:xfrm flipH="1">
            <a:off x="1700643" y="4063930"/>
            <a:ext cx="5105907" cy="0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0D22C06A-7224-CD9C-9EE3-4F59CE27D349}"/>
              </a:ext>
            </a:extLst>
          </p:cNvPr>
          <p:cNvSpPr txBox="1"/>
          <p:nvPr/>
        </p:nvSpPr>
        <p:spPr>
          <a:xfrm>
            <a:off x="1099544" y="3940539"/>
            <a:ext cx="14486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LE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D6BFA15-8565-B90E-E8A7-96408EC2DF2D}"/>
              </a:ext>
            </a:extLst>
          </p:cNvPr>
          <p:cNvSpPr txBox="1"/>
          <p:nvPr/>
        </p:nvSpPr>
        <p:spPr>
          <a:xfrm>
            <a:off x="1073489" y="3447339"/>
            <a:ext cx="14486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POTI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94B7745-774B-FECF-821A-D6F2BFC145B2}"/>
              </a:ext>
            </a:extLst>
          </p:cNvPr>
          <p:cNvCxnSpPr>
            <a:cxnSpLocks/>
          </p:cNvCxnSpPr>
          <p:nvPr/>
        </p:nvCxnSpPr>
        <p:spPr>
          <a:xfrm flipH="1">
            <a:off x="1683827" y="3535690"/>
            <a:ext cx="5369324" cy="19371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54BB559-959D-A3B6-8666-9A8E8A5C9B6F}"/>
              </a:ext>
            </a:extLst>
          </p:cNvPr>
          <p:cNvCxnSpPr>
            <a:cxnSpLocks/>
          </p:cNvCxnSpPr>
          <p:nvPr/>
        </p:nvCxnSpPr>
        <p:spPr>
          <a:xfrm flipH="1" flipV="1">
            <a:off x="7057349" y="3509160"/>
            <a:ext cx="0" cy="252000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5952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1FAA62C8-67D6-2C03-4F45-5C825BF02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88D73887-34D2-7F16-D513-AB9D4CF2A5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00" y="-1087120"/>
            <a:ext cx="4632960" cy="463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6483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orkshopIdee-MiniKenterprise</Template>
  <TotalTime>0</TotalTime>
  <Words>129</Words>
  <Application>Microsoft Office PowerPoint</Application>
  <PresentationFormat>Widescreen</PresentationFormat>
  <Paragraphs>75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ptos</vt:lpstr>
      <vt:lpstr>Arial</vt:lpstr>
      <vt:lpstr>Calibri</vt:lpstr>
      <vt:lpstr>Symbol</vt:lpstr>
      <vt:lpstr>Wingdings</vt:lpstr>
      <vt:lpstr>HSB_16zu9_Blau-Türkisblau</vt:lpstr>
      <vt:lpstr>think-cell Folie</vt:lpstr>
      <vt:lpstr>PowerPoint Presentation</vt:lpstr>
      <vt:lpstr>3D Druc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i Kenterprise Bauplan</dc:title>
  <dc:creator>Jan Kettler</dc:creator>
  <cp:lastModifiedBy>Jan K</cp:lastModifiedBy>
  <cp:revision>20</cp:revision>
  <dcterms:created xsi:type="dcterms:W3CDTF">2021-10-11T10:06:39Z</dcterms:created>
  <dcterms:modified xsi:type="dcterms:W3CDTF">2024-11-02T10:52:17Z</dcterms:modified>
</cp:coreProperties>
</file>